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notesMasterIdLst>
    <p:notesMasterId r:id="rId9"/>
  </p:notesMasterIdLst>
  <p:sldIdLst>
    <p:sldId id="2142533690" r:id="rId2"/>
    <p:sldId id="360" r:id="rId3"/>
    <p:sldId id="2142533694" r:id="rId4"/>
    <p:sldId id="799" r:id="rId5"/>
    <p:sldId id="776" r:id="rId6"/>
    <p:sldId id="777" r:id="rId7"/>
    <p:sldId id="788" r:id="rId8"/>
  </p:sldIdLst>
  <p:sldSz cx="24384000" cy="13716000"/>
  <p:notesSz cx="6807200" cy="9939338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1pPr>
    <a:lvl2pPr marL="0" marR="0" indent="2286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2pPr>
    <a:lvl3pPr marL="0" marR="0" indent="4572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3pPr>
    <a:lvl4pPr marL="0" marR="0" indent="6858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4pPr>
    <a:lvl5pPr marL="0" marR="0" indent="9144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5pPr>
    <a:lvl6pPr marL="0" marR="0" indent="11430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6pPr>
    <a:lvl7pPr marL="0" marR="0" indent="13716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7pPr>
    <a:lvl8pPr marL="0" marR="0" indent="16002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8pPr>
    <a:lvl9pPr marL="0" marR="0" indent="1828800" algn="just" defTabSz="821531" rtl="0" fontAlgn="auto" latinLnBrk="0" hangingPunct="0">
      <a:lnSpc>
        <a:spcPct val="130000"/>
      </a:lnSpc>
      <a:spcBef>
        <a:spcPts val="0"/>
      </a:spcBef>
      <a:spcAft>
        <a:spcPts val="0"/>
      </a:spcAft>
      <a:buClrTx/>
      <a:buSzTx/>
      <a:buFontTx/>
      <a:buNone/>
      <a:tabLst/>
      <a:defRPr kumimoji="0" sz="2400" b="0" i="0" u="none" strike="noStrike" cap="none" spc="-72" normalizeH="0" baseline="0">
        <a:ln>
          <a:noFill/>
        </a:ln>
        <a:solidFill>
          <a:srgbClr val="828994"/>
        </a:solidFill>
        <a:effectLst/>
        <a:uFillTx/>
        <a:latin typeface="Source Sans Pro"/>
        <a:ea typeface="Source Sans Pro"/>
        <a:cs typeface="Source Sans Pro"/>
        <a:sym typeface="Source Sans Pro"/>
      </a:defRPr>
    </a:lvl9pPr>
  </p:defaultTextStyle>
  <p:extLst>
    <p:ext uri="{521415D9-36F7-43E2-AB2F-B90AF26B5E84}">
      <p14:sectionLst xmlns:p14="http://schemas.microsoft.com/office/powerpoint/2010/main">
        <p14:section name="KBC Asia Pacific" id="{EB4F75CB-59DD-4B4C-B0AE-3E8BDDB889AB}">
          <p14:sldIdLst>
            <p14:sldId id="2142533690"/>
            <p14:sldId id="360"/>
            <p14:sldId id="2142533694"/>
            <p14:sldId id="799"/>
            <p14:sldId id="776"/>
            <p14:sldId id="777"/>
            <p14:sldId id="78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FFFFFF"/>
    <a:srgbClr val="0096DC"/>
    <a:srgbClr val="003665"/>
    <a:srgbClr val="EAEAEA"/>
    <a:srgbClr val="009CE3"/>
    <a:srgbClr val="E6E6E6"/>
    <a:srgbClr val="00AEEF"/>
    <a:srgbClr val="DFA529"/>
    <a:srgbClr val="D362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D2C89F2-31AE-6255-4B38-EB79B538176D}" v="4" dt="2023-03-28T10:14:31.974"/>
    <p1510:client id="{7870EE81-78AE-40B8-ACE9-1D02535653A7}" v="612" dt="2023-03-29T10:01:16.251"/>
  </p1510:revLst>
</p1510:revInfo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3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Light"/>
          <a:ea typeface="Helvetica Light"/>
          <a:cs typeface="Helvetica Light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30" d="100"/>
          <a:sy n="30" d="100"/>
        </p:scale>
        <p:origin x="884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6225" cy="372745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44" name="Shape 44"/>
          <p:cNvSpPr>
            <a:spLocks noGrp="1"/>
          </p:cNvSpPr>
          <p:nvPr>
            <p:ph type="body" sz="quarter" idx="1"/>
          </p:nvPr>
        </p:nvSpPr>
        <p:spPr>
          <a:xfrm>
            <a:off x="907627" y="4721186"/>
            <a:ext cx="4991947" cy="4472702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8790495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1pPr>
    <a:lvl2pPr indent="228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4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30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6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2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800" defTabSz="457200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3966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FDEF7A1E-F132-6140-8D5C-73605AD4136D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872218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9045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1090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6225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2538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E2BA7-BF4F-4718-9420-88B7E9575D6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8EB20D-843D-47B1-88D7-67503C899A2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en-US"/>
              <a:t>Click to edit Master subtitle style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E94B39-B01C-4676-A304-97B5720E08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2D115F-2B7D-429A-A991-A29256E024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701A2F-E812-4B46-BFE1-D6D0C31ACF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11507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58EC15-B9AE-465E-8011-FFAF87E0B7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78DA54-C0AE-42EC-85E1-25F50C8A0E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1E580A-0014-45E8-8EF9-54539AA655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9A5562-AB81-46CF-8013-02778622C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E6112B-BAE6-420C-A29F-5EF042695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0886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847C5A-94F4-4046-883D-7205E8D5C1E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CD4341-C86D-4E59-80F4-580B006F37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0669FE-EC15-409D-BDAE-3F83126FF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A611EE-4232-47C4-9376-AB1FCF145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BB584-4198-48CC-A719-5581CBB6F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7841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4236" y="3812"/>
          <a:ext cx="4232" cy="38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36" y="3812"/>
                        <a:ext cx="4232" cy="38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11875" y="932363"/>
            <a:ext cx="17429862" cy="2342818"/>
          </a:xfrm>
        </p:spPr>
        <p:txBody>
          <a:bodyPr lIns="0"/>
          <a:lstStyle>
            <a:lvl1pPr>
              <a:defRPr baseline="0"/>
            </a:lvl1pPr>
          </a:lstStyle>
          <a:p>
            <a:r>
              <a:rPr lang="nl-NL" noProof="0"/>
              <a:t>Klik om de stijl te bewerken</a:t>
            </a:r>
            <a:endParaRPr lang="en-GB" noProof="0"/>
          </a:p>
        </p:txBody>
      </p:sp>
      <p:sp>
        <p:nvSpPr>
          <p:cNvPr id="4" name="Tekstvak 3"/>
          <p:cNvSpPr txBox="1"/>
          <p:nvPr/>
        </p:nvSpPr>
        <p:spPr>
          <a:xfrm>
            <a:off x="19061976" y="14025062"/>
            <a:ext cx="184731" cy="88492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sz="4320">
              <a:solidFill>
                <a:srgbClr val="003366"/>
              </a:solidFill>
              <a:cs typeface="Calibri"/>
            </a:endParaRPr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0040" y="12617968"/>
            <a:ext cx="7721600" cy="777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rgbClr val="00AEEF"/>
                </a:solidFill>
                <a:latin typeface="Verdana"/>
                <a:cs typeface="Verdana"/>
              </a:defRPr>
            </a:lvl1pPr>
          </a:lstStyle>
          <a:p>
            <a:endParaRPr lang="en-US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844288" y="12614400"/>
            <a:ext cx="5689600" cy="7277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rgbClr val="003366"/>
                </a:solidFill>
                <a:latin typeface="Verdana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885088"/>
            <a:ext cx="2843760" cy="2430608"/>
          </a:xfrm>
          <a:noFill/>
        </p:spPr>
        <p:txBody>
          <a:bodyPr lIns="36000" tIns="0" rIns="0" bIns="0"/>
          <a:lstStyle>
            <a:lvl1pPr marL="0" indent="0" algn="r">
              <a:buNone/>
              <a:defRPr sz="6720">
                <a:solidFill>
                  <a:srgbClr val="00AEEF"/>
                </a:solidFill>
              </a:defRPr>
            </a:lvl1pPr>
            <a:lvl2pPr marL="647700" indent="0">
              <a:buNone/>
              <a:defRPr/>
            </a:lvl2pPr>
            <a:lvl3pPr marL="1291592" indent="0">
              <a:buNone/>
              <a:defRPr/>
            </a:lvl3pPr>
            <a:lvl4pPr marL="1725928" indent="0">
              <a:buNone/>
              <a:defRPr/>
            </a:lvl4pPr>
            <a:lvl5pPr marL="2366012" indent="0">
              <a:buNone/>
              <a:defRPr/>
            </a:lvl5pPr>
          </a:lstStyle>
          <a:p>
            <a:pPr lvl="0"/>
            <a:r>
              <a:rPr lang="nl-BE"/>
              <a:t>1.</a:t>
            </a:r>
          </a:p>
        </p:txBody>
      </p:sp>
      <p:sp>
        <p:nvSpPr>
          <p:cNvPr id="10" name="Tijdelijke aanduiding voor inhoud 2"/>
          <p:cNvSpPr>
            <a:spLocks noGrp="1"/>
          </p:cNvSpPr>
          <p:nvPr>
            <p:ph idx="1"/>
          </p:nvPr>
        </p:nvSpPr>
        <p:spPr bwMode="gray">
          <a:xfrm>
            <a:off x="2281935" y="3629366"/>
            <a:ext cx="18359802" cy="8185532"/>
          </a:xfrm>
        </p:spPr>
        <p:txBody>
          <a:bodyPr/>
          <a:lstStyle>
            <a:lvl1pPr marL="647700" indent="-647700">
              <a:lnSpc>
                <a:spcPct val="100000"/>
              </a:lnSpc>
              <a:buClr>
                <a:srgbClr val="00AEEF"/>
              </a:buClr>
              <a:buFont typeface="Wingdings" panose="05000000000000000000" pitchFamily="2" charset="2"/>
              <a:buChar char="§"/>
              <a:defRPr sz="3840"/>
            </a:lvl1pPr>
            <a:lvl2pPr>
              <a:buClr>
                <a:srgbClr val="00AEEF"/>
              </a:buClr>
              <a:defRPr/>
            </a:lvl2pPr>
            <a:lvl3pPr>
              <a:buClr>
                <a:srgbClr val="003366"/>
              </a:buClr>
              <a:defRPr/>
            </a:lvl3pPr>
            <a:lvl4pPr marL="1725932" indent="0">
              <a:buClr>
                <a:srgbClr val="003366"/>
              </a:buClr>
              <a:buNone/>
              <a:defRPr/>
            </a:lvl4pPr>
            <a:lvl5pPr marL="2366012" indent="0">
              <a:buClr>
                <a:srgbClr val="003366"/>
              </a:buClr>
              <a:buNone/>
              <a:defRPr/>
            </a:lvl5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6835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ubble with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607" y="3386864"/>
            <a:ext cx="8523838" cy="6913228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white">
          <a:xfrm>
            <a:off x="8757373" y="4367534"/>
            <a:ext cx="5945482" cy="5353048"/>
          </a:xfrm>
        </p:spPr>
        <p:txBody>
          <a:bodyPr anchor="ctr"/>
          <a:lstStyle>
            <a:lvl1pPr marL="0" indent="0" algn="ctr">
              <a:buNone/>
              <a:defRPr sz="5760">
                <a:solidFill>
                  <a:schemeClr val="bg1"/>
                </a:solidFill>
                <a:latin typeface="ITC Lubalin Graph Std Book" panose="02060502020205020404" pitchFamily="18" charset="0"/>
              </a:defRPr>
            </a:lvl1pPr>
            <a:lvl2pPr marL="647700" indent="0">
              <a:buNone/>
              <a:defRPr sz="4800">
                <a:solidFill>
                  <a:schemeClr val="bg1"/>
                </a:solidFill>
              </a:defRPr>
            </a:lvl2pPr>
            <a:lvl3pPr marL="1291592" indent="0">
              <a:buNone/>
              <a:defRPr sz="4320">
                <a:solidFill>
                  <a:schemeClr val="bg1"/>
                </a:solidFill>
              </a:defRPr>
            </a:lvl3pPr>
            <a:lvl4pPr marL="1725928" indent="0">
              <a:buNone/>
              <a:defRPr sz="3840">
                <a:solidFill>
                  <a:schemeClr val="bg1"/>
                </a:solidFill>
              </a:defRPr>
            </a:lvl4pPr>
            <a:lvl5pPr marL="2366012" indent="0"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00040" y="12617968"/>
            <a:ext cx="7721600" cy="777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rgbClr val="00AEEF"/>
                </a:solidFill>
                <a:latin typeface="Verdana"/>
                <a:cs typeface="Verdana"/>
              </a:defRPr>
            </a:lvl1pPr>
          </a:lstStyle>
          <a:p>
            <a:endParaRPr lang="en-US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771190" y="12585542"/>
            <a:ext cx="5689600" cy="7277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rgbClr val="003366"/>
                </a:solidFill>
                <a:latin typeface="Verdana"/>
                <a:cs typeface="Verdana"/>
              </a:defRPr>
            </a:lvl1pPr>
          </a:lstStyle>
          <a:p>
            <a:fld id="{BE7BFF24-2C35-3444-B615-6A3C0CF587B2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3" name="Picture 12" descr="KBC_RGB.ai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279" t="20414" r="27986" b="33450"/>
          <a:stretch/>
        </p:blipFill>
        <p:spPr bwMode="black">
          <a:xfrm>
            <a:off x="22124445" y="12244030"/>
            <a:ext cx="1636634" cy="1050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7403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78974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- No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/>
          </p:nvPr>
        </p:nvSpPr>
        <p:spPr>
          <a:xfrm>
            <a:off x="4291961" y="5863271"/>
            <a:ext cx="16629566" cy="3753686"/>
          </a:xfrm>
        </p:spPr>
        <p:txBody>
          <a:bodyPr anchor="t" anchorCtr="0"/>
          <a:lstStyle>
            <a:lvl1pPr>
              <a:defRPr sz="6720" b="0">
                <a:solidFill>
                  <a:srgbClr val="003366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4071092A-C51B-3E40-A8DB-8A7FEB60DAC1}"/>
              </a:ext>
            </a:extLst>
          </p:cNvPr>
          <p:cNvSpPr/>
          <p:nvPr userDrawn="1"/>
        </p:nvSpPr>
        <p:spPr>
          <a:xfrm>
            <a:off x="2303620" y="5556042"/>
            <a:ext cx="1340684" cy="1340684"/>
          </a:xfrm>
          <a:prstGeom prst="ellipse">
            <a:avLst/>
          </a:prstGeom>
          <a:solidFill>
            <a:srgbClr val="0096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456" tIns="109728" rIns="219456" bIns="109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BE" sz="3360" err="1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A51C78A-799E-5E41-8F39-A4A0FABE061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303620" y="5454721"/>
            <a:ext cx="1340684" cy="1558290"/>
          </a:xfrm>
          <a:noFill/>
        </p:spPr>
        <p:txBody>
          <a:bodyPr anchor="ctr"/>
          <a:lstStyle>
            <a:lvl1pPr marL="0" indent="0" algn="ctr">
              <a:buNone/>
              <a:defRPr sz="5760" b="1" i="0">
                <a:solidFill>
                  <a:srgbClr val="FFFFFF"/>
                </a:solidFill>
                <a:latin typeface="Gilroy Bold" pitchFamily="2" charset="77"/>
                <a:cs typeface="Verdana"/>
              </a:defRPr>
            </a:lvl1pPr>
            <a:lvl2pPr marL="647694" indent="0">
              <a:buNone/>
              <a:defRPr sz="3360"/>
            </a:lvl2pPr>
            <a:lvl3pPr marL="1291580" indent="0">
              <a:buNone/>
              <a:defRPr sz="2880"/>
            </a:lvl3pPr>
            <a:lvl4pPr marL="1725914" indent="0">
              <a:buNone/>
              <a:defRPr sz="2520"/>
            </a:lvl4pPr>
            <a:lvl5pPr marL="2365990" indent="0">
              <a:buNone/>
              <a:defRPr sz="2520"/>
            </a:lvl5pPr>
          </a:lstStyle>
          <a:p>
            <a:pPr lvl="0"/>
            <a:r>
              <a:rPr lang="nl-B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53875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987425"/>
            <a:ext cx="6172158" cy="6173692"/>
          </a:xfrm>
          <a:solidFill>
            <a:srgbClr val="3B3E41"/>
          </a:solidFill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id-ID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088932" y="987425"/>
            <a:ext cx="6172158" cy="6173692"/>
          </a:xfrm>
          <a:solidFill>
            <a:srgbClr val="4E5255"/>
          </a:solidFill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id-ID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18211842" y="987425"/>
            <a:ext cx="6172158" cy="6173692"/>
          </a:xfrm>
          <a:solidFill>
            <a:srgbClr val="3B3E41"/>
          </a:solidFill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67669672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nr.›</a:t>
            </a:fld>
            <a:endParaRPr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1001001"/>
            <a:ext cx="6374208" cy="6375792"/>
          </a:xfrm>
          <a:solidFill>
            <a:srgbClr val="3B3E41"/>
          </a:solidFill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id-ID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6347679" y="1001001"/>
            <a:ext cx="6374208" cy="6375792"/>
          </a:xfrm>
          <a:solidFill>
            <a:srgbClr val="4E5255"/>
          </a:solidFill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id-ID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0" y="7390457"/>
            <a:ext cx="6374208" cy="6375792"/>
          </a:xfrm>
          <a:solidFill>
            <a:srgbClr val="4E5255"/>
          </a:solidFill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id-ID"/>
          </a:p>
        </p:txBody>
      </p:sp>
      <p:sp>
        <p:nvSpPr>
          <p:cNvPr id="20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347679" y="7390457"/>
            <a:ext cx="6374208" cy="6375792"/>
          </a:xfrm>
          <a:solidFill>
            <a:srgbClr val="3B3E41"/>
          </a:solidFill>
        </p:spPr>
        <p:txBody>
          <a:bodyPr>
            <a:normAutofit/>
          </a:bodyPr>
          <a:lstStyle>
            <a:lvl1pPr marL="0" indent="0" algn="ctr">
              <a:buNone/>
              <a:defRPr sz="32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919168537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Titel met ondertitel en foto's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13805" y="-34575"/>
            <a:ext cx="21895963" cy="2215474"/>
          </a:xfrm>
        </p:spPr>
        <p:txBody>
          <a:bodyPr anchor="ctr"/>
          <a:lstStyle/>
          <a:p>
            <a:r>
              <a:rPr lang="nl-BE"/>
              <a:t>Titelstijl van model bewerken</a:t>
            </a:r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9" hasCustomPrompt="1"/>
          </p:nvPr>
        </p:nvSpPr>
        <p:spPr>
          <a:xfrm>
            <a:off x="1184611" y="2232959"/>
            <a:ext cx="21331931" cy="1607820"/>
          </a:xfrm>
        </p:spPr>
        <p:txBody>
          <a:bodyPr/>
          <a:lstStyle>
            <a:lvl1pPr marL="0" indent="0">
              <a:buNone/>
              <a:defRPr sz="5760"/>
            </a:lvl1pPr>
            <a:lvl2pPr marL="628651" indent="0">
              <a:buNone/>
              <a:defRPr/>
            </a:lvl2pPr>
            <a:lvl3pPr marL="1291589" indent="0">
              <a:buNone/>
              <a:defRPr/>
            </a:lvl3pPr>
            <a:lvl4pPr marL="1722120" indent="0">
              <a:buNone/>
              <a:defRPr/>
            </a:lvl4pPr>
            <a:lvl5pPr marL="2350769" indent="0">
              <a:buNone/>
              <a:defRPr/>
            </a:lvl5pPr>
          </a:lstStyle>
          <a:p>
            <a:pPr lvl="0"/>
            <a:r>
              <a:rPr lang="nl-BE"/>
              <a:t>Subtitel</a:t>
            </a:r>
          </a:p>
        </p:txBody>
      </p:sp>
      <p:sp>
        <p:nvSpPr>
          <p:cNvPr id="10" name="Tijdelijke aanduiding voor afbeelding 6"/>
          <p:cNvSpPr>
            <a:spLocks noGrp="1"/>
          </p:cNvSpPr>
          <p:nvPr>
            <p:ph type="pic" sz="quarter" idx="13" hasCustomPrompt="1"/>
          </p:nvPr>
        </p:nvSpPr>
        <p:spPr>
          <a:xfrm>
            <a:off x="1615484" y="3707131"/>
            <a:ext cx="6726589" cy="6197962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nl-NL"/>
              <a:t>Klik op het pictogram om een foto te plaatsen</a:t>
            </a:r>
          </a:p>
        </p:txBody>
      </p:sp>
      <p:sp>
        <p:nvSpPr>
          <p:cNvPr id="11" name="Tijdelijke aanduiding voor afbeelding 6"/>
          <p:cNvSpPr>
            <a:spLocks noGrp="1"/>
          </p:cNvSpPr>
          <p:nvPr>
            <p:ph type="pic" sz="quarter" idx="14" hasCustomPrompt="1"/>
          </p:nvPr>
        </p:nvSpPr>
        <p:spPr>
          <a:xfrm>
            <a:off x="8774607" y="3707131"/>
            <a:ext cx="6726589" cy="6197962"/>
          </a:xfrm>
        </p:spPr>
        <p:txBody>
          <a:bodyPr anchor="ctr"/>
          <a:lstStyle>
            <a:lvl1pPr marL="0" marR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20"/>
              </a:spcAft>
              <a:buClr>
                <a:srgbClr val="0099CC"/>
              </a:buClr>
              <a:buSzTx/>
              <a:buFontTx/>
              <a:buNone/>
              <a:tabLst/>
              <a:defRPr/>
            </a:lvl1pPr>
          </a:lstStyle>
          <a:p>
            <a:r>
              <a:rPr lang="nl-NL"/>
              <a:t>Klik op het pictogram om een foto te plaatsen</a:t>
            </a:r>
          </a:p>
        </p:txBody>
      </p:sp>
      <p:sp>
        <p:nvSpPr>
          <p:cNvPr id="12" name="Tijdelijke aanduiding voor afbeelding 6"/>
          <p:cNvSpPr>
            <a:spLocks noGrp="1"/>
          </p:cNvSpPr>
          <p:nvPr>
            <p:ph type="pic" sz="quarter" idx="15" hasCustomPrompt="1"/>
          </p:nvPr>
        </p:nvSpPr>
        <p:spPr>
          <a:xfrm>
            <a:off x="15947450" y="3707131"/>
            <a:ext cx="6726589" cy="6197962"/>
          </a:xfrm>
        </p:spPr>
        <p:txBody>
          <a:bodyPr anchor="ctr"/>
          <a:lstStyle>
            <a:lvl1pPr marL="0" marR="0" indent="0" algn="ctr" defTabSz="10972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20"/>
              </a:spcAft>
              <a:buClr>
                <a:srgbClr val="0099CC"/>
              </a:buClr>
              <a:buSzTx/>
              <a:buFontTx/>
              <a:buNone/>
              <a:tabLst/>
              <a:defRPr/>
            </a:lvl1pPr>
          </a:lstStyle>
          <a:p>
            <a:r>
              <a:rPr lang="nl-NL"/>
              <a:t>Klik op het pictogram om een foto te plaatsen</a:t>
            </a:r>
          </a:p>
        </p:txBody>
      </p:sp>
      <p:sp>
        <p:nvSpPr>
          <p:cNvPr id="13" name="Tijdelijke aanduiding voor tekst 10"/>
          <p:cNvSpPr>
            <a:spLocks noGrp="1"/>
          </p:cNvSpPr>
          <p:nvPr>
            <p:ph type="body" sz="quarter" idx="16"/>
          </p:nvPr>
        </p:nvSpPr>
        <p:spPr bwMode="gray">
          <a:xfrm>
            <a:off x="1620504" y="10117572"/>
            <a:ext cx="6716523" cy="1384800"/>
          </a:xfrm>
        </p:spPr>
        <p:txBody>
          <a:bodyPr/>
          <a:lstStyle>
            <a:lvl1pPr marL="0" indent="0" algn="ctr">
              <a:buNone/>
              <a:defRPr sz="288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628651" indent="0" algn="ctr">
              <a:buNone/>
              <a:defRPr sz="2880">
                <a:solidFill>
                  <a:srgbClr val="4D4D4D"/>
                </a:solidFill>
              </a:defRPr>
            </a:lvl2pPr>
            <a:lvl3pPr marL="1291589" indent="0" algn="ctr">
              <a:buNone/>
              <a:defRPr sz="2640">
                <a:solidFill>
                  <a:srgbClr val="4D4D4D"/>
                </a:solidFill>
              </a:defRPr>
            </a:lvl3pPr>
            <a:lvl4pPr marL="1722120" indent="0" algn="ctr">
              <a:buNone/>
              <a:defRPr sz="2520">
                <a:solidFill>
                  <a:srgbClr val="4D4D4D"/>
                </a:solidFill>
              </a:defRPr>
            </a:lvl4pPr>
            <a:lvl5pPr marL="2350769" indent="0" algn="ctr">
              <a:buNone/>
              <a:defRPr sz="2520">
                <a:solidFill>
                  <a:srgbClr val="4D4D4D"/>
                </a:solidFill>
              </a:defRPr>
            </a:lvl5pPr>
          </a:lstStyle>
          <a:p>
            <a:pPr lvl="0"/>
            <a:r>
              <a:rPr lang="nl-BE"/>
              <a:t>Klik om de tekststijl van het model te bewerken</a:t>
            </a:r>
          </a:p>
        </p:txBody>
      </p:sp>
      <p:sp>
        <p:nvSpPr>
          <p:cNvPr id="14" name="Tijdelijke aanduiding voor tekst 10"/>
          <p:cNvSpPr>
            <a:spLocks noGrp="1"/>
          </p:cNvSpPr>
          <p:nvPr>
            <p:ph type="body" sz="quarter" idx="17"/>
          </p:nvPr>
        </p:nvSpPr>
        <p:spPr bwMode="gray">
          <a:xfrm>
            <a:off x="8733841" y="10113878"/>
            <a:ext cx="6771416" cy="1384800"/>
          </a:xfrm>
        </p:spPr>
        <p:txBody>
          <a:bodyPr/>
          <a:lstStyle>
            <a:lvl1pPr marL="0" indent="0" algn="ctr">
              <a:buNone/>
              <a:defRPr sz="288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628651" indent="0" algn="ctr">
              <a:buNone/>
              <a:defRPr sz="2880">
                <a:solidFill>
                  <a:srgbClr val="4D4D4D"/>
                </a:solidFill>
              </a:defRPr>
            </a:lvl2pPr>
            <a:lvl3pPr marL="1291589" indent="0" algn="ctr">
              <a:buNone/>
              <a:defRPr sz="2640">
                <a:solidFill>
                  <a:srgbClr val="4D4D4D"/>
                </a:solidFill>
              </a:defRPr>
            </a:lvl3pPr>
            <a:lvl4pPr marL="1722120" indent="0" algn="ctr">
              <a:buNone/>
              <a:defRPr sz="2520">
                <a:solidFill>
                  <a:srgbClr val="4D4D4D"/>
                </a:solidFill>
              </a:defRPr>
            </a:lvl4pPr>
            <a:lvl5pPr marL="2350769" indent="0" algn="ctr">
              <a:buNone/>
              <a:defRPr sz="2520">
                <a:solidFill>
                  <a:srgbClr val="4D4D4D"/>
                </a:solidFill>
              </a:defRPr>
            </a:lvl5pPr>
          </a:lstStyle>
          <a:p>
            <a:pPr lvl="0"/>
            <a:r>
              <a:rPr lang="nl-BE"/>
              <a:t>Klik om de tekststijl van het model te bewerken</a:t>
            </a:r>
          </a:p>
        </p:txBody>
      </p:sp>
      <p:sp>
        <p:nvSpPr>
          <p:cNvPr id="15" name="Tijdelijke aanduiding voor tekst 10"/>
          <p:cNvSpPr>
            <a:spLocks noGrp="1"/>
          </p:cNvSpPr>
          <p:nvPr>
            <p:ph type="body" sz="quarter" idx="18"/>
          </p:nvPr>
        </p:nvSpPr>
        <p:spPr bwMode="gray">
          <a:xfrm>
            <a:off x="15932212" y="10110185"/>
            <a:ext cx="6765624" cy="1384800"/>
          </a:xfrm>
        </p:spPr>
        <p:txBody>
          <a:bodyPr/>
          <a:lstStyle>
            <a:lvl1pPr marL="0" indent="0" algn="ctr">
              <a:buNone/>
              <a:defRPr sz="2880">
                <a:solidFill>
                  <a:srgbClr val="003366"/>
                </a:solidFill>
                <a:latin typeface="Trebuchet MS"/>
                <a:cs typeface="Trebuchet MS"/>
              </a:defRPr>
            </a:lvl1pPr>
            <a:lvl2pPr marL="628651" indent="0" algn="ctr">
              <a:buNone/>
              <a:defRPr sz="2880">
                <a:solidFill>
                  <a:srgbClr val="4D4D4D"/>
                </a:solidFill>
              </a:defRPr>
            </a:lvl2pPr>
            <a:lvl3pPr marL="1291589" indent="0" algn="ctr">
              <a:buNone/>
              <a:defRPr sz="2640">
                <a:solidFill>
                  <a:srgbClr val="4D4D4D"/>
                </a:solidFill>
              </a:defRPr>
            </a:lvl3pPr>
            <a:lvl4pPr marL="1722120" indent="0" algn="ctr">
              <a:buNone/>
              <a:defRPr sz="2520">
                <a:solidFill>
                  <a:srgbClr val="4D4D4D"/>
                </a:solidFill>
              </a:defRPr>
            </a:lvl4pPr>
            <a:lvl5pPr marL="2350769" indent="0" algn="ctr">
              <a:buNone/>
              <a:defRPr sz="2520">
                <a:solidFill>
                  <a:srgbClr val="4D4D4D"/>
                </a:solidFill>
              </a:defRPr>
            </a:lvl5pPr>
          </a:lstStyle>
          <a:p>
            <a:pPr lvl="0"/>
            <a:r>
              <a:rPr lang="nl-BE"/>
              <a:t>Klik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414978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0C8190-3EC2-4710-B23E-4452F38DB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4D9996-DB1F-4A80-AAAA-F3B6EDCC1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46B5FF-94F3-4B87-A000-4E2FF56220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AC5B49-6235-4E59-96B4-DBA2F66E95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BD1440-8AEF-4154-9284-0065F52429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26840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0D9406-2908-4C5D-B167-63C9D7832E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4C6B586-A806-4B7A-B88F-F71FCB8931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BDE340-52EA-408A-8D45-B39626045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846501-2CC5-445C-94FA-57C5B2C73F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265841-72E1-4FDA-B979-3693282C0B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17972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D35DD3-EF19-40E1-945B-E7A785D32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856EF4-52A6-4CFE-BC99-ADC5F3A81C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F547F2-DC5A-463A-AB73-182A1C8728B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4783A7-C3FB-4D96-84FC-F5FFB8FF6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C6B2AB-8B10-4CD8-ACE7-8410041DE6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966F9E-1FAD-49EC-A54C-E00FCE410A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15360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4418C4-CB60-47E0-B14F-0D84BA18C2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E8E823-DBA5-42E3-842B-64CABCA09C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D6CE55-17C8-45BB-86D0-63DC2A33C4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735751-5725-481E-90D4-AC70761C60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AA6D533-2E46-4BA4-93F0-F53104EE670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E87FFC0-D01C-4371-858F-24542FF7B5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E478F87-92AB-497E-93DA-FE28355A29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A15DD6B-B112-45AE-8562-8D0A228336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71358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A0FEF-60FB-455B-9C9B-A852A06A76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98A2C9-80FB-4066-95FA-355E9835E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63DE59-E9AE-42B2-8CC5-0036B5AC6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9F5CF3-BD3C-4ACD-943F-1290E9840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03090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8E1DAB-EAE1-4FD3-ADFF-9E26167985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24C963B-07E1-4193-B73D-EE936D93F8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B0AE535-E4E6-4E5C-B36E-88C239F65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70264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4B0FE-D872-4874-958E-2BA91BD1BC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37474C-0AB0-4F13-B429-7B4A450560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D29B503-4338-4429-ABFA-A17BCF35A30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C5306D-15DC-400C-B004-39CC39987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FC7F40F-A441-404D-A4E2-E74D9F60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B44B80-F132-4FDB-B6EF-4D9174276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97631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EC089-063B-4F78-B318-A1C6AC64E2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1E0E59-82AC-4F71-914D-6CF7B42C56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de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44A9E9-4A9A-455E-9A98-77DB6E5806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47DAF9-F9F3-4AAE-A617-CD4D6DC86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512545-AAB2-41E8-B837-4C03C4015D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F67909-012E-4623-835A-905F889015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5230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A7A136A-93EA-418C-9562-87B2C6910E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CA9A0D-09AC-4C56-9A25-03E5E2E0CE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5F78B9-4173-4F59-B7D1-9D3145DA07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3EB8A7-91F1-46CC-968E-7526FC2591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A18A61-CAC9-4610-84FD-BC82DCEC06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11EFA4-BB86-4B83-8CD9-363C401766FD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MSIPCMContentMarking" descr="{&quot;HashCode&quot;:1047290088,&quot;Placement&quot;:&quot;Header&quot;,&quot;Top&quot;:0.0,&quot;Left&quot;:924.2841,&quot;SlideWidth&quot;:1920,&quot;SlideHeight&quot;:1080}">
            <a:extLst>
              <a:ext uri="{FF2B5EF4-FFF2-40B4-BE49-F238E27FC236}">
                <a16:creationId xmlns:a16="http://schemas.microsoft.com/office/drawing/2014/main" id="{50E70517-5EE8-48C0-967F-E7478E23288E}"/>
              </a:ext>
            </a:extLst>
          </p:cNvPr>
          <p:cNvSpPr txBox="1"/>
          <p:nvPr userDrawn="1"/>
        </p:nvSpPr>
        <p:spPr>
          <a:xfrm>
            <a:off x="11738408" y="0"/>
            <a:ext cx="9071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43870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9" r:id="rId12"/>
    <p:sldLayoutId id="2147483730" r:id="rId13"/>
    <p:sldLayoutId id="2147483731" r:id="rId14"/>
    <p:sldLayoutId id="2147483749" r:id="rId15"/>
    <p:sldLayoutId id="2147483750" r:id="rId16"/>
    <p:sldLayoutId id="2147483768" r:id="rId17"/>
    <p:sldLayoutId id="2147483770" r:id="rId18"/>
  </p:sldLayoutIdLst>
  <p:hf hdr="0" ftr="0" dt="0"/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5.png"/><Relationship Id="rId11" Type="http://schemas.openxmlformats.org/officeDocument/2006/relationships/image" Target="../media/image19.jpeg"/><Relationship Id="rId5" Type="http://schemas.openxmlformats.org/officeDocument/2006/relationships/image" Target="../media/image14.png"/><Relationship Id="rId10" Type="http://schemas.openxmlformats.org/officeDocument/2006/relationships/image" Target="../media/image18.png"/><Relationship Id="rId4" Type="http://schemas.openxmlformats.org/officeDocument/2006/relationships/image" Target="../media/image7.png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4.svg"/><Relationship Id="rId11" Type="http://schemas.openxmlformats.org/officeDocument/2006/relationships/image" Target="../media/image13.png"/><Relationship Id="rId5" Type="http://schemas.openxmlformats.org/officeDocument/2006/relationships/image" Target="../media/image23.png"/><Relationship Id="rId10" Type="http://schemas.openxmlformats.org/officeDocument/2006/relationships/image" Target="../media/image28.jpeg"/><Relationship Id="rId4" Type="http://schemas.openxmlformats.org/officeDocument/2006/relationships/image" Target="../media/image22.svg"/><Relationship Id="rId9" Type="http://schemas.openxmlformats.org/officeDocument/2006/relationships/image" Target="../media/image2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9.jpeg"/><Relationship Id="rId7" Type="http://schemas.openxmlformats.org/officeDocument/2006/relationships/hyperlink" Target="http://www.kbc.be/china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6" Type="http://schemas.openxmlformats.org/officeDocument/2006/relationships/hyperlink" Target="mailto:Bin.zhang@kbc.be" TargetMode="External"/><Relationship Id="rId5" Type="http://schemas.openxmlformats.org/officeDocument/2006/relationships/image" Target="../media/image31.png"/><Relationship Id="rId10" Type="http://schemas.openxmlformats.org/officeDocument/2006/relationships/image" Target="../media/image13.png"/><Relationship Id="rId4" Type="http://schemas.openxmlformats.org/officeDocument/2006/relationships/image" Target="../media/image30.png"/><Relationship Id="rId9" Type="http://schemas.openxmlformats.org/officeDocument/2006/relationships/image" Target="../media/image33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mailto:William.ip@kbc.be" TargetMode="External"/><Relationship Id="rId3" Type="http://schemas.openxmlformats.org/officeDocument/2006/relationships/image" Target="../media/image32.png"/><Relationship Id="rId7" Type="http://schemas.openxmlformats.org/officeDocument/2006/relationships/image" Target="../media/image3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0.png"/><Relationship Id="rId5" Type="http://schemas.openxmlformats.org/officeDocument/2006/relationships/hyperlink" Target="http://www.kbc.be/hongkong" TargetMode="External"/><Relationship Id="rId10" Type="http://schemas.openxmlformats.org/officeDocument/2006/relationships/image" Target="../media/image13.png"/><Relationship Id="rId4" Type="http://schemas.openxmlformats.org/officeDocument/2006/relationships/image" Target="../media/image33.svg"/><Relationship Id="rId9" Type="http://schemas.openxmlformats.org/officeDocument/2006/relationships/hyperlink" Target="mailto:florence.chan@kbc.be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32.png"/><Relationship Id="rId7" Type="http://schemas.openxmlformats.org/officeDocument/2006/relationships/image" Target="../media/image30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14.xml"/><Relationship Id="rId6" Type="http://schemas.openxmlformats.org/officeDocument/2006/relationships/hyperlink" Target="http://www.kbc.be/singapore" TargetMode="External"/><Relationship Id="rId5" Type="http://schemas.openxmlformats.org/officeDocument/2006/relationships/hyperlink" Target="mailto:Yeokkoon.quak@kbc.be" TargetMode="External"/><Relationship Id="rId4" Type="http://schemas.openxmlformats.org/officeDocument/2006/relationships/image" Target="../media/image33.svg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 descr="A picture containing building, colorful, plant&#10;&#10;Description automatically generated">
            <a:extLst>
              <a:ext uri="{FF2B5EF4-FFF2-40B4-BE49-F238E27FC236}">
                <a16:creationId xmlns:a16="http://schemas.microsoft.com/office/drawing/2014/main" id="{E86ED2F7-7547-47F2-9528-CDA88212910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" r="6" b="25881"/>
          <a:stretch/>
        </p:blipFill>
        <p:spPr>
          <a:xfrm>
            <a:off x="-1" y="-1"/>
            <a:ext cx="8154670" cy="10355871"/>
          </a:xfrm>
          <a:prstGeom prst="rect">
            <a:avLst/>
          </a:prstGeom>
        </p:spPr>
      </p:pic>
      <p:pic>
        <p:nvPicPr>
          <p:cNvPr id="22" name="Picture 21" descr="A picture containing sky, outdoor, water, city&#10;&#10;Description automatically generated">
            <a:extLst>
              <a:ext uri="{FF2B5EF4-FFF2-40B4-BE49-F238E27FC236}">
                <a16:creationId xmlns:a16="http://schemas.microsoft.com/office/drawing/2014/main" id="{AD03214A-FD70-4420-A425-02CC9880EF0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357" t="25876" r="15689" b="23756"/>
          <a:stretch/>
        </p:blipFill>
        <p:spPr>
          <a:xfrm>
            <a:off x="8154670" y="-1"/>
            <a:ext cx="8154670" cy="10355871"/>
          </a:xfrm>
          <a:prstGeom prst="rect">
            <a:avLst/>
          </a:prstGeom>
        </p:spPr>
      </p:pic>
      <p:pic>
        <p:nvPicPr>
          <p:cNvPr id="24" name="Picture 23" descr="A city skyline at night&#10;&#10;Description automatically generated with medium confidence">
            <a:extLst>
              <a:ext uri="{FF2B5EF4-FFF2-40B4-BE49-F238E27FC236}">
                <a16:creationId xmlns:a16="http://schemas.microsoft.com/office/drawing/2014/main" id="{FBD8EB18-0DA7-434F-A6C8-24CE06C8E21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2" r="28834" b="499"/>
          <a:stretch/>
        </p:blipFill>
        <p:spPr>
          <a:xfrm>
            <a:off x="16309341" y="-1"/>
            <a:ext cx="8074658" cy="1035587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E8B5E64-DC68-4B9A-9B7A-76148ABC69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0355870"/>
            <a:ext cx="24384000" cy="3360129"/>
          </a:xfrm>
          <a:prstGeom prst="rect">
            <a:avLst/>
          </a:prstGeom>
          <a:solidFill>
            <a:srgbClr val="003665"/>
          </a:solidFill>
          <a:ln w="38100"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EAC74DF-505A-A182-17FE-65BAAEB92C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24551" y="11056262"/>
            <a:ext cx="12616450" cy="1507235"/>
          </a:xfrm>
        </p:spPr>
        <p:txBody>
          <a:bodyPr>
            <a:normAutofit fontScale="90000"/>
          </a:bodyPr>
          <a:lstStyle/>
          <a:p>
            <a:r>
              <a:rPr lang="en-US">
                <a:solidFill>
                  <a:schemeClr val="bg1"/>
                </a:solidFill>
                <a:latin typeface="Gilroy Bold" pitchFamily="2" charset="77"/>
              </a:rPr>
              <a:t>Introduction to KBC</a:t>
            </a:r>
            <a:r>
              <a:rPr lang="en-US">
                <a:solidFill>
                  <a:schemeClr val="bg1"/>
                </a:solidFill>
              </a:rPr>
              <a:t> </a:t>
            </a:r>
            <a:r>
              <a:rPr lang="en-US">
                <a:solidFill>
                  <a:schemeClr val="bg1"/>
                </a:solidFill>
                <a:latin typeface="Gilroy Bold" pitchFamily="2" charset="77"/>
              </a:rPr>
              <a:t>Asia Pacific</a:t>
            </a:r>
            <a:br>
              <a:rPr lang="en-US" dirty="0">
                <a:solidFill>
                  <a:schemeClr val="bg1"/>
                </a:solidFill>
                <a:latin typeface="Gilroy Bold" pitchFamily="2" charset="77"/>
              </a:rPr>
            </a:br>
            <a:r>
              <a:rPr lang="en-US" sz="3600" dirty="0">
                <a:solidFill>
                  <a:schemeClr val="bg1"/>
                </a:solidFill>
                <a:latin typeface="Gilroy" panose="00000500000000000000" pitchFamily="50" charset="0"/>
              </a:rPr>
              <a:t>We go the </a:t>
            </a:r>
            <a:r>
              <a:rPr lang="en-US" sz="3600" i="1" dirty="0">
                <a:solidFill>
                  <a:schemeClr val="bg1"/>
                </a:solidFill>
                <a:latin typeface="Gilroy" panose="00000500000000000000" pitchFamily="50" charset="0"/>
              </a:rPr>
              <a:t>extra</a:t>
            </a:r>
            <a:r>
              <a:rPr lang="en-US" sz="3600" dirty="0">
                <a:solidFill>
                  <a:schemeClr val="bg1"/>
                </a:solidFill>
                <a:latin typeface="Gilroy" panose="00000500000000000000" pitchFamily="50" charset="0"/>
              </a:rPr>
              <a:t> mile for our clients</a:t>
            </a:r>
            <a:endParaRPr lang="en-BE" dirty="0">
              <a:solidFill>
                <a:schemeClr val="bg1"/>
              </a:solidFill>
              <a:latin typeface="Gilroy" panose="00000500000000000000" pitchFamily="50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FCF084A-6DF0-418C-B597-FD53A7DBD666}"/>
              </a:ext>
            </a:extLst>
          </p:cNvPr>
          <p:cNvGrpSpPr/>
          <p:nvPr/>
        </p:nvGrpSpPr>
        <p:grpSpPr>
          <a:xfrm>
            <a:off x="19573065" y="10814556"/>
            <a:ext cx="3643328" cy="1990646"/>
            <a:chOff x="10360108" y="10774379"/>
            <a:chExt cx="3643328" cy="1990646"/>
          </a:xfrm>
        </p:grpSpPr>
        <p:pic>
          <p:nvPicPr>
            <p:cNvPr id="9" name="Picture 8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E033F7D8-6783-482D-AF50-6A7E59DF1C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653"/>
            <a:stretch/>
          </p:blipFill>
          <p:spPr>
            <a:xfrm>
              <a:off x="10609711" y="10774379"/>
              <a:ext cx="3164577" cy="1570022"/>
            </a:xfrm>
            <a:prstGeom prst="rect">
              <a:avLst/>
            </a:prstGeom>
          </p:spPr>
        </p:pic>
        <p:pic>
          <p:nvPicPr>
            <p:cNvPr id="10" name="Picture 9" descr="Logo&#10;&#10;Description automatically generated">
              <a:extLst>
                <a:ext uri="{FF2B5EF4-FFF2-40B4-BE49-F238E27FC236}">
                  <a16:creationId xmlns:a16="http://schemas.microsoft.com/office/drawing/2014/main" id="{F8A4D971-59C1-4035-A95D-C45692D168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903"/>
            <a:stretch/>
          </p:blipFill>
          <p:spPr>
            <a:xfrm>
              <a:off x="10360108" y="12143233"/>
              <a:ext cx="3643328" cy="6217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862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6EB83153-8705-4BDF-8229-4A142EB5B0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6692" y="0"/>
            <a:ext cx="24400692" cy="2818386"/>
          </a:xfrm>
          <a:prstGeom prst="rect">
            <a:avLst/>
          </a:prstGeom>
          <a:solidFill>
            <a:srgbClr val="003665"/>
          </a:solidFill>
          <a:ln w="38100">
            <a:noFill/>
          </a:ln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6C5F9AB1-A652-4B29-B48B-E70AE241CBC0}"/>
              </a:ext>
            </a:extLst>
          </p:cNvPr>
          <p:cNvSpPr/>
          <p:nvPr/>
        </p:nvSpPr>
        <p:spPr>
          <a:xfrm>
            <a:off x="1598919" y="2992368"/>
            <a:ext cx="6889582" cy="696518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456" tIns="109728" rIns="219456" bIns="109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360" err="1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1733419" y="326398"/>
            <a:ext cx="20324148" cy="2215474"/>
          </a:xfrm>
        </p:spPr>
        <p:txBody>
          <a:bodyPr>
            <a:normAutofit/>
          </a:bodyPr>
          <a:lstStyle/>
          <a:p>
            <a:r>
              <a:rPr lang="en-GB" sz="5400" dirty="0">
                <a:solidFill>
                  <a:schemeClr val="bg1"/>
                </a:solidFill>
                <a:latin typeface="Gilroy Bold" pitchFamily="2" charset="77"/>
              </a:rPr>
              <a:t>We are present in the 3 major financial centres in APAC providing wholesale banking servic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96F2CA15-9243-4173-B302-08F41D50FB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96569" y="9186202"/>
            <a:ext cx="6094274" cy="752688"/>
          </a:xfrm>
        </p:spPr>
        <p:txBody>
          <a:bodyPr>
            <a:normAutofit/>
          </a:bodyPr>
          <a:lstStyle/>
          <a:p>
            <a:r>
              <a:rPr lang="en-US" sz="2800" i="1" dirty="0">
                <a:latin typeface="Gilroy" panose="00000500000000000000" pitchFamily="50" charset="0"/>
              </a:rPr>
              <a:t>Since 1993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D7EF577-963C-42A8-AE3C-069679DCB38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522" r="13900"/>
          <a:stretch/>
        </p:blipFill>
        <p:spPr>
          <a:xfrm>
            <a:off x="2766364" y="4524541"/>
            <a:ext cx="4506343" cy="4506343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Tijdelijke aanduiding voor tekst 12">
            <a:extLst>
              <a:ext uri="{FF2B5EF4-FFF2-40B4-BE49-F238E27FC236}">
                <a16:creationId xmlns:a16="http://schemas.microsoft.com/office/drawing/2014/main" id="{D1C640BF-B3B0-4201-9FA1-636AC8FC371B}"/>
              </a:ext>
            </a:extLst>
          </p:cNvPr>
          <p:cNvSpPr txBox="1">
            <a:spLocks/>
          </p:cNvSpPr>
          <p:nvPr/>
        </p:nvSpPr>
        <p:spPr bwMode="gray">
          <a:xfrm>
            <a:off x="2021271" y="3075365"/>
            <a:ext cx="6044870" cy="1063680"/>
          </a:xfrm>
          <a:prstGeom prst="roundRect">
            <a:avLst/>
          </a:prstGeom>
        </p:spPr>
        <p:txBody>
          <a:bodyPr vert="horz" lIns="219456" tIns="109728" rIns="219456" bIns="109728" rtlCol="0">
            <a:no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Wingdings" charset="2"/>
              <a:buNone/>
              <a:defRPr sz="1200" kern="1200">
                <a:solidFill>
                  <a:srgbClr val="003366"/>
                </a:solidFill>
                <a:latin typeface="Trebuchet MS"/>
                <a:ea typeface="+mn-ea"/>
                <a:cs typeface="Trebuchet MS"/>
              </a:defRPr>
            </a:lvl1pPr>
            <a:lvl2pPr marL="261938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AEEF"/>
              </a:buClr>
              <a:buFont typeface="Wingdings" charset="2"/>
              <a:buNone/>
              <a:defRPr sz="12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2pPr>
            <a:lvl3pPr marL="538162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Lucida Grande"/>
              <a:buNone/>
              <a:defRPr sz="11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3pPr>
            <a:lvl4pPr marL="717550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4pPr>
            <a:lvl5pPr marL="979487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760" b="1" dirty="0">
                <a:latin typeface="Gilroy Bold" panose="00000800000000000000" pitchFamily="50" charset="0"/>
              </a:rPr>
              <a:t>SINGAPOR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D1C0CD1-AFE5-4B70-9D77-F3869024951D}"/>
              </a:ext>
            </a:extLst>
          </p:cNvPr>
          <p:cNvCxnSpPr>
            <a:cxnSpLocks/>
          </p:cNvCxnSpPr>
          <p:nvPr/>
        </p:nvCxnSpPr>
        <p:spPr>
          <a:xfrm>
            <a:off x="4430750" y="4183793"/>
            <a:ext cx="1177570" cy="0"/>
          </a:xfrm>
          <a:prstGeom prst="line">
            <a:avLst/>
          </a:prstGeom>
          <a:ln w="9525">
            <a:solidFill>
              <a:srgbClr val="00AEE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Rectangle 40">
            <a:extLst>
              <a:ext uri="{FF2B5EF4-FFF2-40B4-BE49-F238E27FC236}">
                <a16:creationId xmlns:a16="http://schemas.microsoft.com/office/drawing/2014/main" id="{25D09FB1-4BED-4845-9DC9-1A95E30A31ED}"/>
              </a:ext>
            </a:extLst>
          </p:cNvPr>
          <p:cNvSpPr/>
          <p:nvPr/>
        </p:nvSpPr>
        <p:spPr>
          <a:xfrm>
            <a:off x="8754771" y="2973705"/>
            <a:ext cx="6889582" cy="696518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456" tIns="109728" rIns="219456" bIns="109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360" err="1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88DA4D13-D1A1-45A7-A9CB-DF93C58BE2DE}"/>
              </a:ext>
            </a:extLst>
          </p:cNvPr>
          <p:cNvSpPr txBox="1">
            <a:spLocks/>
          </p:cNvSpPr>
          <p:nvPr/>
        </p:nvSpPr>
        <p:spPr bwMode="gray">
          <a:xfrm>
            <a:off x="9152421" y="9186202"/>
            <a:ext cx="6094274" cy="752688"/>
          </a:xfrm>
          <a:prstGeom prst="rect">
            <a:avLst/>
          </a:prstGeom>
        </p:spPr>
        <p:txBody>
          <a:bodyPr vert="horz" lIns="219456" tIns="109728" rIns="219456" bIns="109728" rtlCol="0">
            <a:no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Wingdings" charset="2"/>
              <a:buNone/>
              <a:defRPr sz="1200" kern="1200">
                <a:solidFill>
                  <a:srgbClr val="003366"/>
                </a:solidFill>
                <a:latin typeface="Trebuchet MS"/>
                <a:ea typeface="+mn-ea"/>
                <a:cs typeface="Trebuchet MS"/>
              </a:defRPr>
            </a:lvl1pPr>
            <a:lvl2pPr marL="261938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AEEF"/>
              </a:buClr>
              <a:buFont typeface="Wingdings" charset="2"/>
              <a:buNone/>
              <a:defRPr sz="12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2pPr>
            <a:lvl3pPr marL="538162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Lucida Grande"/>
              <a:buNone/>
              <a:defRPr sz="11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3pPr>
            <a:lvl4pPr marL="717550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4pPr>
            <a:lvl5pPr marL="979487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i="1" dirty="0">
                <a:latin typeface="Gilroy" panose="00000500000000000000" pitchFamily="50" charset="0"/>
              </a:rPr>
              <a:t>Since 1998*</a:t>
            </a:r>
          </a:p>
        </p:txBody>
      </p:sp>
      <p:sp>
        <p:nvSpPr>
          <p:cNvPr id="44" name="Tijdelijke aanduiding voor tekst 12">
            <a:extLst>
              <a:ext uri="{FF2B5EF4-FFF2-40B4-BE49-F238E27FC236}">
                <a16:creationId xmlns:a16="http://schemas.microsoft.com/office/drawing/2014/main" id="{CF2887C3-DFAB-4D70-9550-BF60ECC819BA}"/>
              </a:ext>
            </a:extLst>
          </p:cNvPr>
          <p:cNvSpPr txBox="1">
            <a:spLocks/>
          </p:cNvSpPr>
          <p:nvPr/>
        </p:nvSpPr>
        <p:spPr bwMode="gray">
          <a:xfrm>
            <a:off x="9177123" y="3075365"/>
            <a:ext cx="6044870" cy="1063680"/>
          </a:xfrm>
          <a:prstGeom prst="roundRect">
            <a:avLst/>
          </a:prstGeom>
        </p:spPr>
        <p:txBody>
          <a:bodyPr vert="horz" lIns="219456" tIns="109728" rIns="219456" bIns="109728" rtlCol="0">
            <a:no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Wingdings" charset="2"/>
              <a:buNone/>
              <a:defRPr sz="1200" kern="1200">
                <a:solidFill>
                  <a:srgbClr val="003366"/>
                </a:solidFill>
                <a:latin typeface="Trebuchet MS"/>
                <a:ea typeface="+mn-ea"/>
                <a:cs typeface="Trebuchet MS"/>
              </a:defRPr>
            </a:lvl1pPr>
            <a:lvl2pPr marL="261938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AEEF"/>
              </a:buClr>
              <a:buFont typeface="Wingdings" charset="2"/>
              <a:buNone/>
              <a:defRPr sz="12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2pPr>
            <a:lvl3pPr marL="538162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Lucida Grande"/>
              <a:buNone/>
              <a:defRPr sz="11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3pPr>
            <a:lvl4pPr marL="717550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4pPr>
            <a:lvl5pPr marL="979487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760" b="1" dirty="0">
                <a:latin typeface="Gilroy Bold" panose="00000800000000000000" pitchFamily="50" charset="0"/>
              </a:rPr>
              <a:t>HONG KONG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6E58237-5887-444B-AD39-589ACCF6AF0E}"/>
              </a:ext>
            </a:extLst>
          </p:cNvPr>
          <p:cNvCxnSpPr>
            <a:cxnSpLocks/>
          </p:cNvCxnSpPr>
          <p:nvPr/>
        </p:nvCxnSpPr>
        <p:spPr>
          <a:xfrm>
            <a:off x="11586602" y="4183793"/>
            <a:ext cx="1177570" cy="0"/>
          </a:xfrm>
          <a:prstGeom prst="line">
            <a:avLst/>
          </a:prstGeom>
          <a:ln w="9525">
            <a:solidFill>
              <a:srgbClr val="00AEE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Picture 39">
            <a:extLst>
              <a:ext uri="{FF2B5EF4-FFF2-40B4-BE49-F238E27FC236}">
                <a16:creationId xmlns:a16="http://schemas.microsoft.com/office/drawing/2014/main" id="{3951DBEE-9D1C-4BF7-B702-37B22D24931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650" r="16650"/>
          <a:stretch/>
        </p:blipFill>
        <p:spPr>
          <a:xfrm>
            <a:off x="9943686" y="4474525"/>
            <a:ext cx="4496628" cy="4496628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C02D05A4-7114-4D71-8F18-554CE9CD241F}"/>
              </a:ext>
            </a:extLst>
          </p:cNvPr>
          <p:cNvSpPr/>
          <p:nvPr/>
        </p:nvSpPr>
        <p:spPr>
          <a:xfrm>
            <a:off x="15895499" y="2973705"/>
            <a:ext cx="6889582" cy="6965186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9456" tIns="109728" rIns="219456" bIns="1097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360" err="1"/>
          </a:p>
        </p:txBody>
      </p:sp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CE3EF0F6-E0B3-4250-B3AB-04313457BAFE}"/>
              </a:ext>
            </a:extLst>
          </p:cNvPr>
          <p:cNvSpPr txBox="1">
            <a:spLocks/>
          </p:cNvSpPr>
          <p:nvPr/>
        </p:nvSpPr>
        <p:spPr bwMode="gray">
          <a:xfrm>
            <a:off x="16293157" y="9186202"/>
            <a:ext cx="6094274" cy="752688"/>
          </a:xfrm>
          <a:prstGeom prst="rect">
            <a:avLst/>
          </a:prstGeom>
        </p:spPr>
        <p:txBody>
          <a:bodyPr vert="horz" lIns="219456" tIns="109728" rIns="219456" bIns="109728" rtlCol="0">
            <a:no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Wingdings" charset="2"/>
              <a:buNone/>
              <a:defRPr sz="1200" kern="1200">
                <a:solidFill>
                  <a:srgbClr val="003366"/>
                </a:solidFill>
                <a:latin typeface="Trebuchet MS"/>
                <a:ea typeface="+mn-ea"/>
                <a:cs typeface="Trebuchet MS"/>
              </a:defRPr>
            </a:lvl1pPr>
            <a:lvl2pPr marL="261938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AEEF"/>
              </a:buClr>
              <a:buFont typeface="Wingdings" charset="2"/>
              <a:buNone/>
              <a:defRPr sz="12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2pPr>
            <a:lvl3pPr marL="538162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Lucida Grande"/>
              <a:buNone/>
              <a:defRPr sz="11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3pPr>
            <a:lvl4pPr marL="717550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4pPr>
            <a:lvl5pPr marL="979487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i="1">
                <a:latin typeface="Gilroy" panose="00000500000000000000" pitchFamily="50" charset="0"/>
              </a:rPr>
              <a:t>Since 1996</a:t>
            </a:r>
          </a:p>
        </p:txBody>
      </p:sp>
      <p:sp>
        <p:nvSpPr>
          <p:cNvPr id="54" name="Tijdelijke aanduiding voor tekst 12">
            <a:extLst>
              <a:ext uri="{FF2B5EF4-FFF2-40B4-BE49-F238E27FC236}">
                <a16:creationId xmlns:a16="http://schemas.microsoft.com/office/drawing/2014/main" id="{136D0835-0371-4453-B730-E2AE1EEC42B3}"/>
              </a:ext>
            </a:extLst>
          </p:cNvPr>
          <p:cNvSpPr txBox="1">
            <a:spLocks/>
          </p:cNvSpPr>
          <p:nvPr/>
        </p:nvSpPr>
        <p:spPr bwMode="gray">
          <a:xfrm>
            <a:off x="16317859" y="3075365"/>
            <a:ext cx="6044870" cy="1063680"/>
          </a:xfrm>
          <a:prstGeom prst="roundRect">
            <a:avLst/>
          </a:prstGeom>
        </p:spPr>
        <p:txBody>
          <a:bodyPr vert="horz" lIns="219456" tIns="109728" rIns="219456" bIns="109728" rtlCol="0">
            <a:noAutofit/>
          </a:bodyPr>
          <a:lstStyle>
            <a:lvl1pPr marL="0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Wingdings" charset="2"/>
              <a:buNone/>
              <a:defRPr sz="1200" kern="1200">
                <a:solidFill>
                  <a:srgbClr val="003366"/>
                </a:solidFill>
                <a:latin typeface="Trebuchet MS"/>
                <a:ea typeface="+mn-ea"/>
                <a:cs typeface="Trebuchet MS"/>
              </a:defRPr>
            </a:lvl1pPr>
            <a:lvl2pPr marL="261938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AEEF"/>
              </a:buClr>
              <a:buFont typeface="Wingdings" charset="2"/>
              <a:buNone/>
              <a:defRPr sz="12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2pPr>
            <a:lvl3pPr marL="538162" indent="0" algn="ctr" defTabSz="4572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Lucida Grande"/>
              <a:buNone/>
              <a:defRPr sz="110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3pPr>
            <a:lvl4pPr marL="717550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4pPr>
            <a:lvl5pPr marL="979487" indent="0" algn="ctr" defTabSz="457200" rtl="0" eaLnBrk="1" latinLnBrk="0" hangingPunct="1">
              <a:spcBef>
                <a:spcPts val="0"/>
              </a:spcBef>
              <a:spcAft>
                <a:spcPts val="800"/>
              </a:spcAft>
              <a:buClr>
                <a:srgbClr val="003366"/>
              </a:buClr>
              <a:buFont typeface="Arial"/>
              <a:buNone/>
              <a:defRPr sz="1050" kern="1200">
                <a:solidFill>
                  <a:srgbClr val="4D4D4D"/>
                </a:solidFill>
                <a:latin typeface="Calibri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5760" b="1" dirty="0">
                <a:latin typeface="Gilroy Bold" panose="00000800000000000000" pitchFamily="50" charset="0"/>
              </a:rPr>
              <a:t>SHANGHAI</a:t>
            </a: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148AC69-5381-4818-BB8A-D136E5BCB800}"/>
              </a:ext>
            </a:extLst>
          </p:cNvPr>
          <p:cNvCxnSpPr>
            <a:cxnSpLocks/>
          </p:cNvCxnSpPr>
          <p:nvPr/>
        </p:nvCxnSpPr>
        <p:spPr>
          <a:xfrm>
            <a:off x="18727339" y="4183793"/>
            <a:ext cx="1177570" cy="0"/>
          </a:xfrm>
          <a:prstGeom prst="line">
            <a:avLst/>
          </a:prstGeom>
          <a:ln w="9525">
            <a:solidFill>
              <a:srgbClr val="00AEE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0" name="Picture 49">
            <a:extLst>
              <a:ext uri="{FF2B5EF4-FFF2-40B4-BE49-F238E27FC236}">
                <a16:creationId xmlns:a16="http://schemas.microsoft.com/office/drawing/2014/main" id="{3D83A841-FA7E-46D5-A8D8-87E1EC2CAF9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769" t="1203" r="4231" b="1203"/>
          <a:stretch/>
        </p:blipFill>
        <p:spPr>
          <a:xfrm>
            <a:off x="17067810" y="4488781"/>
            <a:ext cx="4496628" cy="4496628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1" name="Rectangle 60">
            <a:extLst>
              <a:ext uri="{FF2B5EF4-FFF2-40B4-BE49-F238E27FC236}">
                <a16:creationId xmlns:a16="http://schemas.microsoft.com/office/drawing/2014/main" id="{ADBC82D0-692A-41B5-8C2A-2C6DBB5165D3}"/>
              </a:ext>
            </a:extLst>
          </p:cNvPr>
          <p:cNvSpPr/>
          <p:nvPr/>
        </p:nvSpPr>
        <p:spPr>
          <a:xfrm>
            <a:off x="2021271" y="12406804"/>
            <a:ext cx="18168917" cy="4592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i="1" dirty="0">
                <a:solidFill>
                  <a:srgbClr val="003366"/>
                </a:solidFill>
                <a:cs typeface="Calibri"/>
              </a:rPr>
              <a:t>* Prior to 1998, KBC Hong Kong operated under the name </a:t>
            </a:r>
            <a:r>
              <a:rPr lang="en-US" sz="2000" i="1" dirty="0" err="1">
                <a:solidFill>
                  <a:srgbClr val="003366"/>
                </a:solidFill>
                <a:cs typeface="Calibri"/>
              </a:rPr>
              <a:t>Kredietbank</a:t>
            </a:r>
            <a:r>
              <a:rPr lang="en-US" sz="2000" i="1" dirty="0">
                <a:solidFill>
                  <a:srgbClr val="003366"/>
                </a:solidFill>
                <a:cs typeface="Calibri"/>
              </a:rPr>
              <a:t> since June 1989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EF670A1-C4B4-42D6-B449-DD9CC5734A42}"/>
              </a:ext>
            </a:extLst>
          </p:cNvPr>
          <p:cNvSpPr txBox="1"/>
          <p:nvPr/>
        </p:nvSpPr>
        <p:spPr>
          <a:xfrm>
            <a:off x="1629182" y="10207693"/>
            <a:ext cx="21155899" cy="1667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sz="2700" spc="-81" dirty="0">
                <a:solidFill>
                  <a:srgbClr val="43474E"/>
                </a:solidFill>
              </a:rPr>
              <a:t>Our 3 APAC branches offer an invaluable and specialized local banking support for subsidiaries of KBC clients with headquarters in a KBC core market.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sz="2700" spc="-81" dirty="0">
                <a:solidFill>
                  <a:srgbClr val="43474E"/>
                </a:solidFill>
              </a:rPr>
              <a:t>In each branch, a dedicated multilingual European Desk is focused on making banking as easy as possible.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sz="2700" spc="-81" dirty="0">
                <a:solidFill>
                  <a:srgbClr val="43474E"/>
                </a:solidFill>
              </a:rPr>
              <a:t>We are committed to be your European Banking Partner in APAC, who understand your business and banking needs better than anyone else.</a:t>
            </a:r>
          </a:p>
        </p:txBody>
      </p:sp>
      <p:pic>
        <p:nvPicPr>
          <p:cNvPr id="23" name="Picture 22" descr="A picture containing logo&#10;&#10;Description automatically generated">
            <a:extLst>
              <a:ext uri="{FF2B5EF4-FFF2-40B4-BE49-F238E27FC236}">
                <a16:creationId xmlns:a16="http://schemas.microsoft.com/office/drawing/2014/main" id="{3383FCCF-543B-4931-8A49-7A13F7CBE31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2" r="19144" b="26730"/>
          <a:stretch/>
        </p:blipFill>
        <p:spPr>
          <a:xfrm>
            <a:off x="23389389" y="12941297"/>
            <a:ext cx="815532" cy="649690"/>
          </a:xfrm>
          <a:prstGeom prst="rect">
            <a:avLst/>
          </a:prstGeom>
        </p:spPr>
      </p:pic>
      <p:sp>
        <p:nvSpPr>
          <p:cNvPr id="24" name="Slide Number Placeholder 1">
            <a:extLst>
              <a:ext uri="{FF2B5EF4-FFF2-40B4-BE49-F238E27FC236}">
                <a16:creationId xmlns:a16="http://schemas.microsoft.com/office/drawing/2014/main" id="{5D4A79FA-F1ED-4347-A5CC-CA174F532FF2}"/>
              </a:ext>
            </a:extLst>
          </p:cNvPr>
          <p:cNvSpPr txBox="1">
            <a:spLocks/>
          </p:cNvSpPr>
          <p:nvPr/>
        </p:nvSpPr>
        <p:spPr>
          <a:xfrm>
            <a:off x="179079" y="13010554"/>
            <a:ext cx="846736" cy="5111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2286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indent="4572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indent="6858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indent="9144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indent="11430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indent="13716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indent="16002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indent="18288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marR="0" lvl="0" indent="0" algn="ctr" defTabSz="821531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2400" b="0" i="0" u="none" strike="noStrike" kern="0" cap="none" spc="-72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Gilroy" panose="00000500000000000000" pitchFamily="50" charset="0"/>
                <a:sym typeface="Helvetica Light"/>
              </a:rPr>
              <a:pPr marL="0" marR="0" lvl="0" indent="0" algn="ctr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2400" b="0" i="0" u="none" strike="noStrike" kern="0" cap="none" spc="-72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Gilroy" panose="00000500000000000000" pitchFamily="50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65538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build="p"/>
      <p:bldP spid="30" grpId="0"/>
      <p:bldP spid="42" grpId="0"/>
      <p:bldP spid="44" grpId="0"/>
      <p:bldP spid="52" grpId="0"/>
      <p:bldP spid="54" grpId="0"/>
      <p:bldP spid="61" grpId="0"/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122BA51-EEBF-41D5-BC69-3EBB13090B96}"/>
              </a:ext>
            </a:extLst>
          </p:cNvPr>
          <p:cNvSpPr/>
          <p:nvPr/>
        </p:nvSpPr>
        <p:spPr>
          <a:xfrm>
            <a:off x="0" y="983350"/>
            <a:ext cx="11428236" cy="1271514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6EB478B5-3902-4446-A947-0CD6DCB8A83A}"/>
              </a:ext>
            </a:extLst>
          </p:cNvPr>
          <p:cNvSpPr/>
          <p:nvPr/>
        </p:nvSpPr>
        <p:spPr>
          <a:xfrm>
            <a:off x="11428237" y="1002400"/>
            <a:ext cx="6486585" cy="6466280"/>
          </a:xfrm>
          <a:prstGeom prst="rect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66B8BB27-C81F-436C-A231-A48E7948C0BD}"/>
              </a:ext>
            </a:extLst>
          </p:cNvPr>
          <p:cNvSpPr/>
          <p:nvPr/>
        </p:nvSpPr>
        <p:spPr>
          <a:xfrm>
            <a:off x="23468394" y="138973"/>
            <a:ext cx="851068" cy="70021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31" name="Picture 30" descr="A picture containing logo&#10;&#10;Description automatically generated">
            <a:extLst>
              <a:ext uri="{FF2B5EF4-FFF2-40B4-BE49-F238E27FC236}">
                <a16:creationId xmlns:a16="http://schemas.microsoft.com/office/drawing/2014/main" id="{71AC5233-3944-44DC-BA8F-44F0378BAF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2" r="19144" b="26730"/>
          <a:stretch/>
        </p:blipFill>
        <p:spPr>
          <a:xfrm>
            <a:off x="23389389" y="136375"/>
            <a:ext cx="815532" cy="64969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2343C8E0-A6D7-47D7-BC8F-F31CAB40AB3D}"/>
              </a:ext>
            </a:extLst>
          </p:cNvPr>
          <p:cNvSpPr/>
          <p:nvPr/>
        </p:nvSpPr>
        <p:spPr>
          <a:xfrm>
            <a:off x="11143401" y="-115579"/>
            <a:ext cx="2646947" cy="713075"/>
          </a:xfrm>
          <a:prstGeom prst="rect">
            <a:avLst/>
          </a:prstGeom>
          <a:solidFill>
            <a:srgbClr val="FFFFFF"/>
          </a:solidFill>
          <a:ln w="12700" cap="flat">
            <a:solidFill>
              <a:srgbClr val="FFFF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AC22C47B-2B5C-468E-9C51-38C389C1BAD7}"/>
              </a:ext>
            </a:extLst>
          </p:cNvPr>
          <p:cNvGrpSpPr/>
          <p:nvPr/>
        </p:nvGrpSpPr>
        <p:grpSpPr>
          <a:xfrm>
            <a:off x="981848" y="2682168"/>
            <a:ext cx="8781479" cy="781433"/>
            <a:chOff x="14573820" y="4452571"/>
            <a:chExt cx="8781479" cy="781433"/>
          </a:xfrm>
        </p:grpSpPr>
        <p:sp>
          <p:nvSpPr>
            <p:cNvPr id="52" name="Shape 84">
              <a:extLst>
                <a:ext uri="{FF2B5EF4-FFF2-40B4-BE49-F238E27FC236}">
                  <a16:creationId xmlns:a16="http://schemas.microsoft.com/office/drawing/2014/main" id="{535E534D-0C4F-4FFA-842E-FF3B2D6FFA20}"/>
                </a:ext>
              </a:extLst>
            </p:cNvPr>
            <p:cNvSpPr/>
            <p:nvPr/>
          </p:nvSpPr>
          <p:spPr>
            <a:xfrm>
              <a:off x="14610366" y="5234004"/>
              <a:ext cx="8744933" cy="0"/>
            </a:xfrm>
            <a:prstGeom prst="line">
              <a:avLst/>
            </a:prstGeom>
            <a:ln w="12700">
              <a:solidFill>
                <a:srgbClr val="003665"/>
              </a:solidFill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53" name="Shape 85">
              <a:extLst>
                <a:ext uri="{FF2B5EF4-FFF2-40B4-BE49-F238E27FC236}">
                  <a16:creationId xmlns:a16="http://schemas.microsoft.com/office/drawing/2014/main" id="{864A87F4-2FCF-49AA-A96B-3C6D402FD796}"/>
                </a:ext>
              </a:extLst>
            </p:cNvPr>
            <p:cNvSpPr/>
            <p:nvPr/>
          </p:nvSpPr>
          <p:spPr>
            <a:xfrm>
              <a:off x="14573820" y="4452571"/>
              <a:ext cx="7421839" cy="64094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71437" tIns="71437" rIns="71437" bIns="71437" anchor="ctr">
              <a:spAutoFit/>
            </a:bodyPr>
            <a:lstStyle>
              <a:lvl1pPr algn="l">
                <a:lnSpc>
                  <a:spcPct val="80000"/>
                </a:lnSpc>
                <a:defRPr sz="3600">
                  <a:solidFill>
                    <a:srgbClr val="45494F"/>
                  </a:solidFill>
                  <a:latin typeface="+mn-lt"/>
                  <a:ea typeface="+mn-ea"/>
                  <a:cs typeface="+mn-cs"/>
                  <a:sym typeface="Montserrat-Bold"/>
                </a:defRPr>
              </a:lvl1pPr>
            </a:lstStyle>
            <a:p>
              <a:pPr marL="0" marR="0" lvl="0" indent="0" algn="l" defTabSz="821531" rtl="0" eaLnBrk="1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i="0" u="none" strike="noStrike" kern="0" cap="none" spc="-72" normalizeH="0" baseline="0" noProof="0" dirty="0">
                  <a:ln>
                    <a:noFill/>
                  </a:ln>
                  <a:solidFill>
                    <a:srgbClr val="45494F"/>
                  </a:solidFill>
                  <a:effectLst/>
                  <a:uLnTx/>
                  <a:uFillTx/>
                  <a:latin typeface="Gilroy" panose="00000500000000000000" pitchFamily="50" charset="0"/>
                  <a:sym typeface="Montserrat-Bold"/>
                </a:rPr>
                <a:t>What our customers appreciate</a:t>
              </a:r>
              <a:endParaRPr kumimoji="0" sz="4000" i="0" u="none" strike="noStrike" kern="0" cap="none" spc="-72" normalizeH="0" baseline="0" noProof="0" dirty="0">
                <a:ln>
                  <a:noFill/>
                </a:ln>
                <a:solidFill>
                  <a:srgbClr val="45494F"/>
                </a:solidFill>
                <a:effectLst/>
                <a:uLnTx/>
                <a:uFillTx/>
                <a:latin typeface="Gilroy" panose="00000500000000000000" pitchFamily="50" charset="0"/>
                <a:sym typeface="Montserrat-Bold"/>
              </a:endParaRPr>
            </a:p>
          </p:txBody>
        </p:sp>
        <p:sp>
          <p:nvSpPr>
            <p:cNvPr id="54" name="Shape 88">
              <a:extLst>
                <a:ext uri="{FF2B5EF4-FFF2-40B4-BE49-F238E27FC236}">
                  <a16:creationId xmlns:a16="http://schemas.microsoft.com/office/drawing/2014/main" id="{47D160CE-149E-42AB-B8ED-23321BDDEF9D}"/>
                </a:ext>
              </a:extLst>
            </p:cNvPr>
            <p:cNvSpPr/>
            <p:nvPr/>
          </p:nvSpPr>
          <p:spPr>
            <a:xfrm>
              <a:off x="14610367" y="5157802"/>
              <a:ext cx="1500419" cy="76201"/>
            </a:xfrm>
            <a:prstGeom prst="rect">
              <a:avLst/>
            </a:prstGeom>
            <a:solidFill>
              <a:srgbClr val="00AEEF"/>
            </a:solidFill>
            <a:ln w="12700"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  <p:pic>
        <p:nvPicPr>
          <p:cNvPr id="83" name="Picture 82">
            <a:extLst>
              <a:ext uri="{FF2B5EF4-FFF2-40B4-BE49-F238E27FC236}">
                <a16:creationId xmlns:a16="http://schemas.microsoft.com/office/drawing/2014/main" id="{3567A860-A5B6-42A2-92DF-AC94BF61D75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39853" y="7249721"/>
            <a:ext cx="6466279" cy="6466279"/>
          </a:xfrm>
          <a:prstGeom prst="rect">
            <a:avLst/>
          </a:prstGeom>
          <a:ln w="38100">
            <a:solidFill>
              <a:srgbClr val="FFFFFF"/>
            </a:solidFill>
          </a:ln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62CC47CC-39FB-4406-9923-4DC2467D63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17777" y="983352"/>
            <a:ext cx="6466279" cy="6466279"/>
          </a:xfrm>
          <a:prstGeom prst="rect">
            <a:avLst/>
          </a:prstGeom>
          <a:ln w="38100">
            <a:solidFill>
              <a:srgbClr val="FFFFFF"/>
            </a:solidFill>
          </a:ln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2BA50F30-FA10-4E56-9873-69B31813BA32}"/>
              </a:ext>
            </a:extLst>
          </p:cNvPr>
          <p:cNvGrpSpPr/>
          <p:nvPr/>
        </p:nvGrpSpPr>
        <p:grpSpPr>
          <a:xfrm>
            <a:off x="18329485" y="1729490"/>
            <a:ext cx="5642863" cy="4838947"/>
            <a:chOff x="18329485" y="1729490"/>
            <a:chExt cx="5642863" cy="4838947"/>
          </a:xfrm>
        </p:grpSpPr>
        <p:sp>
          <p:nvSpPr>
            <p:cNvPr id="86" name="Shape 608">
              <a:extLst>
                <a:ext uri="{FF2B5EF4-FFF2-40B4-BE49-F238E27FC236}">
                  <a16:creationId xmlns:a16="http://schemas.microsoft.com/office/drawing/2014/main" id="{2FEFC7DB-2754-4DB3-A639-DD39E48DD447}"/>
                </a:ext>
              </a:extLst>
            </p:cNvPr>
            <p:cNvSpPr/>
            <p:nvPr/>
          </p:nvSpPr>
          <p:spPr>
            <a:xfrm>
              <a:off x="18478896" y="1729490"/>
              <a:ext cx="5344040" cy="5970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71437" tIns="71437" rIns="71437" bIns="71437" anchor="ctr">
              <a:spAutoFit/>
            </a:bodyPr>
            <a:lstStyle/>
            <a:p>
              <a:pPr marL="0" marR="0" lvl="0" indent="0" algn="ctr" defTabSz="821531" rtl="0" eaLnBrk="1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FFFFFF"/>
                  </a:solidFill>
                  <a:latin typeface="Source Sans Pro Semibold"/>
                  <a:ea typeface="Source Sans Pro Semibold"/>
                  <a:cs typeface="Source Sans Pro Semibold"/>
                  <a:sym typeface="Source Sans Pro Semibold"/>
                </a:defRPr>
              </a:pPr>
              <a:r>
                <a:rPr kumimoji="0" lang="en-US" sz="3600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ilroy Bold" panose="00000800000000000000" pitchFamily="50" charset="0"/>
                  <a:ea typeface="Source Sans Pro Semibold"/>
                  <a:sym typeface="Source Sans Pro Semibold"/>
                </a:rPr>
                <a:t>REGIONAL SCOPE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7A021295-203B-46C7-A921-04692EAE82E0}"/>
                </a:ext>
              </a:extLst>
            </p:cNvPr>
            <p:cNvSpPr txBox="1"/>
            <p:nvPr/>
          </p:nvSpPr>
          <p:spPr>
            <a:xfrm>
              <a:off x="18329485" y="4983773"/>
              <a:ext cx="5642863" cy="15846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1437" tIns="71437" rIns="71437" bIns="71437" numCol="1" spcCol="38100" rtlCol="0" anchor="ctr">
              <a:spAutoFit/>
            </a:bodyPr>
            <a:lstStyle/>
            <a:p>
              <a:pPr marR="0" lvl="0" algn="ctr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b="0" i="0" u="none" strike="noStrike" kern="0" cap="none" spc="-7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cs typeface="Source Sans Pro"/>
                  <a:sym typeface="Source Sans Pro"/>
                </a:rPr>
                <a:t>China, Hong Kong and Singapore</a:t>
              </a:r>
            </a:p>
            <a:p>
              <a:pPr marR="0" lvl="0" algn="ctr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i="0" u="none" strike="noStrike" kern="0" cap="none" spc="-7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cs typeface="Source Sans Pro"/>
                  <a:sym typeface="Source Sans Pro"/>
                </a:rPr>
                <a:t>+</a:t>
              </a:r>
            </a:p>
            <a:p>
              <a:pPr marR="0" lvl="0" algn="ctr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i="0" u="none" strike="noStrike" kern="0" cap="none" spc="-7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cs typeface="Source Sans Pro"/>
                  <a:sym typeface="Source Sans Pro"/>
                </a:rPr>
                <a:t>extension to neighboring SE Asian countries</a:t>
              </a:r>
            </a:p>
          </p:txBody>
        </p:sp>
        <p:pic>
          <p:nvPicPr>
            <p:cNvPr id="94" name="Picture 93" descr="A close up of a logo&#10;&#10;Description automatically generated">
              <a:extLst>
                <a:ext uri="{FF2B5EF4-FFF2-40B4-BE49-F238E27FC236}">
                  <a16:creationId xmlns:a16="http://schemas.microsoft.com/office/drawing/2014/main" id="{A700FE6E-A680-490D-881C-A43D0391F7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lum bright="70000" contrast="-70000"/>
            </a:blip>
            <a:stretch>
              <a:fillRect/>
            </a:stretch>
          </p:blipFill>
          <p:spPr>
            <a:xfrm>
              <a:off x="20023462" y="2478874"/>
              <a:ext cx="2254909" cy="2385357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0EC5936B-1992-4026-889B-662FA3ACA679}"/>
              </a:ext>
            </a:extLst>
          </p:cNvPr>
          <p:cNvGrpSpPr/>
          <p:nvPr/>
        </p:nvGrpSpPr>
        <p:grpSpPr>
          <a:xfrm>
            <a:off x="12315369" y="8140743"/>
            <a:ext cx="4738536" cy="5121717"/>
            <a:chOff x="12315369" y="8140743"/>
            <a:chExt cx="4738536" cy="5121717"/>
          </a:xfrm>
        </p:grpSpPr>
        <p:sp>
          <p:nvSpPr>
            <p:cNvPr id="84" name="Shape 608">
              <a:extLst>
                <a:ext uri="{FF2B5EF4-FFF2-40B4-BE49-F238E27FC236}">
                  <a16:creationId xmlns:a16="http://schemas.microsoft.com/office/drawing/2014/main" id="{CA484AA4-92F1-46E4-B433-291FA0DF0B8E}"/>
                </a:ext>
              </a:extLst>
            </p:cNvPr>
            <p:cNvSpPr/>
            <p:nvPr/>
          </p:nvSpPr>
          <p:spPr>
            <a:xfrm>
              <a:off x="12315369" y="8140743"/>
              <a:ext cx="4738536" cy="5970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71437" tIns="71437" rIns="71437" bIns="71437" anchor="ctr">
              <a:spAutoFit/>
            </a:bodyPr>
            <a:lstStyle/>
            <a:p>
              <a:pPr marL="0" marR="0" lvl="0" indent="0" algn="ctr" defTabSz="821531" rtl="0" eaLnBrk="1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FFFFFF"/>
                  </a:solidFill>
                  <a:latin typeface="Source Sans Pro Semibold"/>
                  <a:ea typeface="Source Sans Pro Semibold"/>
                  <a:cs typeface="Source Sans Pro Semibold"/>
                  <a:sym typeface="Source Sans Pro Semibold"/>
                </a:defRPr>
              </a:pPr>
              <a:r>
                <a:rPr lang="en-US" sz="3600" dirty="0">
                  <a:solidFill>
                    <a:srgbClr val="FFFFFF"/>
                  </a:solidFill>
                  <a:latin typeface="Gilroy Bold" panose="00000800000000000000" pitchFamily="50" charset="0"/>
                  <a:ea typeface="Source Sans Pro Semibold"/>
                  <a:sym typeface="Source Sans Pro Semibold"/>
                </a:rPr>
                <a:t>O</a:t>
              </a:r>
              <a:r>
                <a:rPr lang="en-US" altLang="zh-TW" sz="3600" dirty="0">
                  <a:solidFill>
                    <a:srgbClr val="FFFFFF"/>
                  </a:solidFill>
                  <a:latin typeface="Gilroy Bold" panose="00000800000000000000" pitchFamily="50" charset="0"/>
                  <a:ea typeface="Source Sans Pro Semibold"/>
                  <a:sym typeface="Source Sans Pro Semibold"/>
                </a:rPr>
                <a:t>UR MISSION</a:t>
              </a:r>
              <a:endParaRPr kumimoji="0" lang="en-US" sz="3600" b="0" i="0" u="none" strike="noStrike" kern="0" cap="none" spc="-7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ilroy Bold" panose="00000800000000000000" pitchFamily="50" charset="0"/>
                <a:ea typeface="Source Sans Pro Semibold"/>
                <a:sym typeface="Source Sans Pro Semibold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50D30A0-4107-4933-99CE-82237B708258}"/>
                </a:ext>
              </a:extLst>
            </p:cNvPr>
            <p:cNvSpPr txBox="1"/>
            <p:nvPr/>
          </p:nvSpPr>
          <p:spPr>
            <a:xfrm>
              <a:off x="12367063" y="11677796"/>
              <a:ext cx="4603142" cy="15846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1437" tIns="71437" rIns="71437" bIns="71437" numCol="1" spcCol="38100" rtlCol="0" anchor="ctr">
              <a:spAutoFit/>
            </a:bodyPr>
            <a:lstStyle/>
            <a:p>
              <a:pPr marR="0" lvl="0" algn="ctr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cs typeface="Source Sans Pro"/>
                  <a:sym typeface="Source Sans Pro"/>
                </a:rPr>
                <a:t>Local teams ensure an </a:t>
              </a:r>
              <a:r>
                <a:rPr kumimoji="0" lang="en-US" b="1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cs typeface="Source Sans Pro"/>
                  <a:sym typeface="Source Sans Pro"/>
                </a:rPr>
                <a:t>extension of the services </a:t>
              </a:r>
              <a:r>
                <a:rPr kumimoji="0" lang="en-US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cs typeface="Source Sans Pro"/>
                  <a:sym typeface="Source Sans Pro"/>
                </a:rPr>
                <a:t>clients are used to by their main KBC contact.</a:t>
              </a:r>
            </a:p>
          </p:txBody>
        </p: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997B0C7D-BAB5-41BF-AB61-BD218D6FF811}"/>
                </a:ext>
              </a:extLst>
            </p:cNvPr>
            <p:cNvGrpSpPr/>
            <p:nvPr/>
          </p:nvGrpSpPr>
          <p:grpSpPr>
            <a:xfrm>
              <a:off x="13246654" y="8820365"/>
              <a:ext cx="2875967" cy="2857429"/>
              <a:chOff x="7337500" y="1291380"/>
              <a:chExt cx="1351935" cy="1288896"/>
            </a:xfrm>
          </p:grpSpPr>
          <p:sp>
            <p:nvSpPr>
              <p:cNvPr id="100" name="Oval 99">
                <a:extLst>
                  <a:ext uri="{FF2B5EF4-FFF2-40B4-BE49-F238E27FC236}">
                    <a16:creationId xmlns:a16="http://schemas.microsoft.com/office/drawing/2014/main" id="{255A345D-71C7-4C21-A5D1-366E3AE79C02}"/>
                  </a:ext>
                </a:extLst>
              </p:cNvPr>
              <p:cNvSpPr/>
              <p:nvPr/>
            </p:nvSpPr>
            <p:spPr>
              <a:xfrm>
                <a:off x="7391882" y="1346238"/>
                <a:ext cx="1244442" cy="1188948"/>
              </a:xfrm>
              <a:prstGeom prst="ellipse">
                <a:avLst/>
              </a:prstGeom>
              <a:noFill/>
              <a:ln w="127000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200" err="1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143BE05B-9E6F-4DDA-9CD6-9465EA776785}"/>
                  </a:ext>
                </a:extLst>
              </p:cNvPr>
              <p:cNvSpPr/>
              <p:nvPr/>
            </p:nvSpPr>
            <p:spPr>
              <a:xfrm>
                <a:off x="7486133" y="1490792"/>
                <a:ext cx="1052359" cy="81926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200" b="1" dirty="0">
                    <a:solidFill>
                      <a:schemeClr val="bg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Make</a:t>
                </a:r>
              </a:p>
              <a:p>
                <a:pPr algn="ctr"/>
                <a:r>
                  <a:rPr lang="en-US" sz="2200" b="1" dirty="0">
                    <a:solidFill>
                      <a:schemeClr val="bg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banking in Asia </a:t>
                </a:r>
              </a:p>
              <a:p>
                <a:pPr algn="ctr"/>
                <a:r>
                  <a:rPr lang="en-US" sz="2200" b="1" dirty="0">
                    <a:solidFill>
                      <a:schemeClr val="bg1"/>
                    </a:solidFill>
                    <a:latin typeface="Source Sans Pro" panose="020B0503030403020204" pitchFamily="34" charset="0"/>
                    <a:ea typeface="Source Sans Pro" panose="020B0503030403020204" pitchFamily="34" charset="0"/>
                  </a:rPr>
                  <a:t> easy for KBC Group clients</a:t>
                </a:r>
              </a:p>
            </p:txBody>
          </p:sp>
          <p:sp>
            <p:nvSpPr>
              <p:cNvPr id="102" name="Isosceles Triangle 101">
                <a:extLst>
                  <a:ext uri="{FF2B5EF4-FFF2-40B4-BE49-F238E27FC236}">
                    <a16:creationId xmlns:a16="http://schemas.microsoft.com/office/drawing/2014/main" id="{7DD02F16-B9B8-43BA-AB0C-375E44173155}"/>
                  </a:ext>
                </a:extLst>
              </p:cNvPr>
              <p:cNvSpPr/>
              <p:nvPr/>
            </p:nvSpPr>
            <p:spPr>
              <a:xfrm rot="5400000">
                <a:off x="7961345" y="1296359"/>
                <a:ext cx="101934" cy="91976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err="1"/>
              </a:p>
            </p:txBody>
          </p:sp>
          <p:sp>
            <p:nvSpPr>
              <p:cNvPr id="103" name="Isosceles Triangle 102">
                <a:extLst>
                  <a:ext uri="{FF2B5EF4-FFF2-40B4-BE49-F238E27FC236}">
                    <a16:creationId xmlns:a16="http://schemas.microsoft.com/office/drawing/2014/main" id="{9408844A-51AA-464D-AB99-4C2DB7C87083}"/>
                  </a:ext>
                </a:extLst>
              </p:cNvPr>
              <p:cNvSpPr/>
              <p:nvPr/>
            </p:nvSpPr>
            <p:spPr>
              <a:xfrm rot="10800000">
                <a:off x="8582743" y="1900422"/>
                <a:ext cx="106692" cy="87874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err="1"/>
              </a:p>
            </p:txBody>
          </p:sp>
          <p:sp>
            <p:nvSpPr>
              <p:cNvPr id="104" name="Isosceles Triangle 103">
                <a:extLst>
                  <a:ext uri="{FF2B5EF4-FFF2-40B4-BE49-F238E27FC236}">
                    <a16:creationId xmlns:a16="http://schemas.microsoft.com/office/drawing/2014/main" id="{91C56914-4D3A-4AB8-B0F9-4D7762270C52}"/>
                  </a:ext>
                </a:extLst>
              </p:cNvPr>
              <p:cNvSpPr/>
              <p:nvPr/>
            </p:nvSpPr>
            <p:spPr>
              <a:xfrm>
                <a:off x="7337500" y="1890898"/>
                <a:ext cx="106692" cy="87874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err="1"/>
              </a:p>
            </p:txBody>
          </p:sp>
          <p:sp>
            <p:nvSpPr>
              <p:cNvPr id="105" name="Isosceles Triangle 104">
                <a:extLst>
                  <a:ext uri="{FF2B5EF4-FFF2-40B4-BE49-F238E27FC236}">
                    <a16:creationId xmlns:a16="http://schemas.microsoft.com/office/drawing/2014/main" id="{E60D3FCF-A7AF-438F-B58C-AFD6F1DDDD3B}"/>
                  </a:ext>
                </a:extLst>
              </p:cNvPr>
              <p:cNvSpPr/>
              <p:nvPr/>
            </p:nvSpPr>
            <p:spPr>
              <a:xfrm rot="16200000">
                <a:off x="7961345" y="2483321"/>
                <a:ext cx="101934" cy="91976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82880" tIns="91440" rIns="182880" bIns="9144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800" err="1"/>
              </a:p>
            </p:txBody>
          </p:sp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050680E-F5C0-4D9B-BAE3-4DB251EE09FF}"/>
              </a:ext>
            </a:extLst>
          </p:cNvPr>
          <p:cNvGrpSpPr/>
          <p:nvPr/>
        </p:nvGrpSpPr>
        <p:grpSpPr>
          <a:xfrm>
            <a:off x="1051644" y="4119476"/>
            <a:ext cx="9472604" cy="7609584"/>
            <a:chOff x="1051644" y="4119476"/>
            <a:chExt cx="9472604" cy="7609584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EB1ED5E1-6339-4950-ACA6-C054F54B4573}"/>
                </a:ext>
              </a:extLst>
            </p:cNvPr>
            <p:cNvSpPr txBox="1"/>
            <p:nvPr/>
          </p:nvSpPr>
          <p:spPr>
            <a:xfrm>
              <a:off x="2490761" y="4119476"/>
              <a:ext cx="8033487" cy="76095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r>
                <a:rPr lang="en-US" altLang="zh-TW" sz="2700" spc="-81" dirty="0">
                  <a:solidFill>
                    <a:srgbClr val="00B0F0"/>
                  </a:solidFill>
                </a:rPr>
                <a:t>V</a:t>
              </a:r>
              <a:r>
                <a:rPr lang="en-US" altLang="zh-HK" sz="2700" spc="-81" dirty="0">
                  <a:solidFill>
                    <a:srgbClr val="00B0F0"/>
                  </a:solidFill>
                </a:rPr>
                <a:t>ast experiences &amp; </a:t>
              </a:r>
              <a:r>
                <a:rPr lang="en-US" altLang="zh-HK" sz="2700" spc="-81" dirty="0">
                  <a:solidFill>
                    <a:srgbClr val="00B0F0"/>
                  </a:solidFill>
                  <a:latin typeface="Source Sans Pro"/>
                  <a:ea typeface="Source Sans Pro"/>
                </a:rPr>
                <a:t>established network </a:t>
              </a:r>
              <a:r>
                <a:rPr lang="en-US" altLang="zh-HK" sz="2700" spc="-81" dirty="0">
                  <a:solidFill>
                    <a:srgbClr val="43474E"/>
                  </a:solidFill>
                  <a:latin typeface="Source Sans Pro"/>
                  <a:ea typeface="Source Sans Pro"/>
                </a:rPr>
                <a:t>to </a:t>
              </a:r>
              <a:r>
                <a:rPr lang="en-US" sz="2700" spc="-81" dirty="0">
                  <a:solidFill>
                    <a:srgbClr val="43474E"/>
                  </a:solidFill>
                  <a:latin typeface="Source Sans Pro"/>
                  <a:ea typeface="Source Sans Pro"/>
                </a:rPr>
                <a:t>address client’s specific business needs in APAC</a:t>
              </a: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endParaRPr lang="en-US" sz="2700" spc="-81" dirty="0">
                <a:solidFill>
                  <a:srgbClr val="43474E"/>
                </a:solidFill>
                <a:highlight>
                  <a:srgbClr val="FFFF00"/>
                </a:highlight>
                <a:latin typeface="Source Sans Pro"/>
                <a:ea typeface="Source Sans Pro"/>
              </a:endParaRP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r>
                <a:rPr lang="en-US" sz="2700" spc="-81" dirty="0">
                  <a:solidFill>
                    <a:srgbClr val="43474E"/>
                  </a:solidFill>
                </a:rPr>
                <a:t>T</a:t>
              </a:r>
              <a:r>
                <a:rPr lang="en-US" altLang="zh-HK" sz="2700" spc="-81" dirty="0">
                  <a:solidFill>
                    <a:srgbClr val="43474E"/>
                  </a:solidFill>
                </a:rPr>
                <a:t>ranslating </a:t>
              </a:r>
              <a:r>
                <a:rPr lang="en-US" sz="2700" spc="-81" dirty="0">
                  <a:solidFill>
                    <a:srgbClr val="00B0F0"/>
                  </a:solidFill>
                  <a:latin typeface="Source Sans Pro"/>
                  <a:ea typeface="Source Sans Pro"/>
                </a:rPr>
                <a:t>local needs </a:t>
              </a:r>
              <a:r>
                <a:rPr lang="en-US" sz="2700" spc="-81" dirty="0">
                  <a:solidFill>
                    <a:srgbClr val="43474E"/>
                  </a:solidFill>
                  <a:latin typeface="Source Sans Pro"/>
                  <a:ea typeface="Source Sans Pro"/>
                </a:rPr>
                <a:t>into the right service solution</a:t>
              </a: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endParaRPr lang="en-US" sz="2700" spc="-81" dirty="0">
                <a:solidFill>
                  <a:srgbClr val="43474E"/>
                </a:solidFill>
                <a:latin typeface="Source Sans Pro"/>
                <a:ea typeface="Source Sans Pro"/>
              </a:endParaRP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r>
                <a:rPr lang="en-US" sz="2700" spc="-81" dirty="0">
                  <a:solidFill>
                    <a:srgbClr val="00B0F0"/>
                  </a:solidFill>
                </a:rPr>
                <a:t>Seamless collaboration &amp; coordination </a:t>
              </a:r>
              <a:r>
                <a:rPr lang="en-US" sz="2700" spc="-81" dirty="0">
                  <a:solidFill>
                    <a:srgbClr val="43474E"/>
                  </a:solidFill>
                  <a:latin typeface="Source Sans Pro"/>
                  <a:ea typeface="Source Sans Pro"/>
                </a:rPr>
                <a:t>with the Relationship Manager in the home market</a:t>
              </a: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endParaRPr lang="en-US" sz="2700" spc="-81" dirty="0">
                <a:solidFill>
                  <a:srgbClr val="43474E"/>
                </a:solidFill>
                <a:latin typeface="Source Sans Pro"/>
                <a:ea typeface="Source Sans Pro"/>
              </a:endParaRP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r>
                <a:rPr lang="en-US" sz="2700" spc="-81" dirty="0">
                  <a:solidFill>
                    <a:srgbClr val="00B0F0"/>
                  </a:solidFill>
                  <a:latin typeface="Source Sans Pro"/>
                  <a:ea typeface="Source Sans Pro"/>
                </a:rPr>
                <a:t>Dedicated &amp; approachable teams </a:t>
              </a:r>
              <a:r>
                <a:rPr lang="en-US" sz="2700" spc="-81" dirty="0">
                  <a:solidFill>
                    <a:srgbClr val="43474E"/>
                  </a:solidFill>
                  <a:latin typeface="Source Sans Pro"/>
                  <a:ea typeface="Source Sans Pro"/>
                </a:rPr>
                <a:t>to </a:t>
              </a:r>
              <a:r>
                <a:rPr lang="en-US" sz="2700" spc="-81" dirty="0">
                  <a:solidFill>
                    <a:srgbClr val="43474E"/>
                  </a:solidFill>
                </a:rPr>
                <a:t>ensure</a:t>
              </a:r>
              <a:r>
                <a:rPr lang="zh-TW" altLang="en-US" sz="2700" spc="-81" dirty="0">
                  <a:solidFill>
                    <a:srgbClr val="43474E"/>
                  </a:solidFill>
                </a:rPr>
                <a:t> </a:t>
              </a:r>
              <a:r>
                <a:rPr lang="en-US" altLang="zh-TW" sz="2700" spc="-81" dirty="0">
                  <a:solidFill>
                    <a:srgbClr val="43474E"/>
                  </a:solidFill>
                </a:rPr>
                <a:t>professional</a:t>
              </a:r>
              <a:r>
                <a:rPr lang="zh-TW" altLang="en-US" sz="2700" spc="-81" dirty="0">
                  <a:solidFill>
                    <a:srgbClr val="43474E"/>
                  </a:solidFill>
                </a:rPr>
                <a:t> </a:t>
              </a:r>
              <a:r>
                <a:rPr lang="en-US" altLang="zh-TW" sz="2700" spc="-81" dirty="0">
                  <a:solidFill>
                    <a:srgbClr val="43474E"/>
                  </a:solidFill>
                </a:rPr>
                <a:t>and</a:t>
              </a:r>
              <a:r>
                <a:rPr lang="zh-TW" altLang="en-US" sz="2700" spc="-81" dirty="0">
                  <a:solidFill>
                    <a:srgbClr val="43474E"/>
                  </a:solidFill>
                </a:rPr>
                <a:t> </a:t>
              </a:r>
              <a:r>
                <a:rPr lang="en-US" altLang="zh-TW" sz="2700" spc="-81" dirty="0">
                  <a:solidFill>
                    <a:srgbClr val="43474E"/>
                  </a:solidFill>
                </a:rPr>
                <a:t>client-centric</a:t>
              </a:r>
              <a:r>
                <a:rPr lang="zh-TW" altLang="en-US" sz="2700" spc="-81" dirty="0">
                  <a:solidFill>
                    <a:srgbClr val="43474E"/>
                  </a:solidFill>
                </a:rPr>
                <a:t> </a:t>
              </a:r>
              <a:r>
                <a:rPr lang="en-US" altLang="zh-TW" sz="2700" spc="-81" dirty="0">
                  <a:solidFill>
                    <a:srgbClr val="43474E"/>
                  </a:solidFill>
                </a:rPr>
                <a:t>assistance</a:t>
              </a:r>
              <a:endParaRPr lang="en-US" sz="2700" spc="-81" dirty="0">
                <a:solidFill>
                  <a:srgbClr val="43474E"/>
                </a:solidFill>
                <a:latin typeface="Source Sans Pro"/>
                <a:ea typeface="Source Sans Pro"/>
              </a:endParaRP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endParaRPr lang="en-US" sz="2700" spc="-81" dirty="0">
                <a:solidFill>
                  <a:srgbClr val="43474E"/>
                </a:solidFill>
              </a:endParaRPr>
            </a:p>
            <a:p>
              <a:pPr marL="457200" lvl="4" indent="-457200" algn="l">
                <a:buFont typeface="Courier New" panose="02070309020205020404" pitchFamily="49" charset="0"/>
                <a:buChar char="o"/>
                <a:defRPr/>
              </a:pPr>
              <a:r>
                <a:rPr lang="en-US" sz="2700" spc="-81" dirty="0">
                  <a:solidFill>
                    <a:srgbClr val="00B0F0"/>
                  </a:solidFill>
                  <a:latin typeface="Source Sans Pro"/>
                  <a:ea typeface="Source Sans Pro"/>
                </a:rPr>
                <a:t>Fast credit approval </a:t>
              </a:r>
              <a:r>
                <a:rPr lang="en-US" sz="2700" spc="-81" dirty="0">
                  <a:solidFill>
                    <a:srgbClr val="43474E"/>
                  </a:solidFill>
                </a:rPr>
                <a:t>thanks to our client knowledge, cooperation with Belgian colleagues and local decision authority.</a:t>
              </a:r>
            </a:p>
          </p:txBody>
        </p:sp>
        <p:pic>
          <p:nvPicPr>
            <p:cNvPr id="57" name="Picture 56" descr="A picture containing drawing, clock&#10;&#10;Description automatically generated">
              <a:extLst>
                <a:ext uri="{FF2B5EF4-FFF2-40B4-BE49-F238E27FC236}">
                  <a16:creationId xmlns:a16="http://schemas.microsoft.com/office/drawing/2014/main" id="{00EBBDAF-468E-4B78-B1D2-CED7ED9CC6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233030" y="4186532"/>
              <a:ext cx="1073088" cy="1073088"/>
            </a:xfrm>
            <a:prstGeom prst="rect">
              <a:avLst/>
            </a:prstGeom>
          </p:spPr>
        </p:pic>
        <p:pic>
          <p:nvPicPr>
            <p:cNvPr id="58" name="Picture 57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65001D40-D832-4C50-BBF9-CF39ED60671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233029" y="5586495"/>
              <a:ext cx="1073090" cy="1073090"/>
            </a:xfrm>
            <a:prstGeom prst="rect">
              <a:avLst/>
            </a:prstGeom>
          </p:spPr>
        </p:pic>
        <p:pic>
          <p:nvPicPr>
            <p:cNvPr id="59" name="Picture 58" descr="A picture containing drawing, light&#10;&#10;Description automatically generated">
              <a:extLst>
                <a:ext uri="{FF2B5EF4-FFF2-40B4-BE49-F238E27FC236}">
                  <a16:creationId xmlns:a16="http://schemas.microsoft.com/office/drawing/2014/main" id="{F997205A-6DCF-4327-8A01-14C89B94D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398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139136" y="6750159"/>
              <a:ext cx="1260876" cy="1260876"/>
            </a:xfrm>
            <a:prstGeom prst="rect">
              <a:avLst/>
            </a:prstGeom>
          </p:spPr>
        </p:pic>
        <p:pic>
          <p:nvPicPr>
            <p:cNvPr id="60" name="Picture 59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6CDC0DC8-348B-43C7-AA1B-7D3B839D349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1139136" y="8494994"/>
              <a:ext cx="1260876" cy="914250"/>
            </a:xfrm>
            <a:prstGeom prst="rect">
              <a:avLst/>
            </a:prstGeom>
          </p:spPr>
        </p:pic>
        <p:pic>
          <p:nvPicPr>
            <p:cNvPr id="2050" name="Picture 2" descr="Fast time vector icon. Time icon. Deadline icon. 11164014 ...">
              <a:extLst>
                <a:ext uri="{FF2B5EF4-FFF2-40B4-BE49-F238E27FC236}">
                  <a16:creationId xmlns:a16="http://schemas.microsoft.com/office/drawing/2014/main" id="{91B272EB-930E-4042-B4F5-B5DEB5F2D47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520" r="23808"/>
            <a:stretch/>
          </p:blipFill>
          <p:spPr bwMode="auto">
            <a:xfrm>
              <a:off x="1051644" y="9804514"/>
              <a:ext cx="1314992" cy="1260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22875974-9751-436E-8E6B-986DA0ED70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17749" y="7249721"/>
            <a:ext cx="6466279" cy="646627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rgbClr val="FFFFFF"/>
            </a:solidFill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208B642-52FC-4176-8723-4DCF52A53317}"/>
              </a:ext>
            </a:extLst>
          </p:cNvPr>
          <p:cNvSpPr/>
          <p:nvPr/>
        </p:nvSpPr>
        <p:spPr>
          <a:xfrm>
            <a:off x="17897414" y="7232217"/>
            <a:ext cx="6486585" cy="64662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357C10C-AAEC-44C7-B09C-54CEF0AF5F4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8878" y="8824273"/>
            <a:ext cx="4389516" cy="2645669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ABC86C1-A317-4BBE-A10B-C9A64524A1CA}"/>
              </a:ext>
            </a:extLst>
          </p:cNvPr>
          <p:cNvGrpSpPr/>
          <p:nvPr/>
        </p:nvGrpSpPr>
        <p:grpSpPr>
          <a:xfrm>
            <a:off x="11963935" y="1732049"/>
            <a:ext cx="5401356" cy="4510481"/>
            <a:chOff x="11963935" y="1732049"/>
            <a:chExt cx="5401356" cy="4510481"/>
          </a:xfrm>
        </p:grpSpPr>
        <p:sp>
          <p:nvSpPr>
            <p:cNvPr id="55" name="Shape 63">
              <a:extLst>
                <a:ext uri="{FF2B5EF4-FFF2-40B4-BE49-F238E27FC236}">
                  <a16:creationId xmlns:a16="http://schemas.microsoft.com/office/drawing/2014/main" id="{3D4E3BCF-FA0F-44F9-86A7-6C6505691D37}"/>
                </a:ext>
              </a:extLst>
            </p:cNvPr>
            <p:cNvSpPr/>
            <p:nvPr/>
          </p:nvSpPr>
          <p:spPr>
            <a:xfrm>
              <a:off x="11963935" y="3392840"/>
              <a:ext cx="5401356" cy="28496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71437" tIns="71437" rIns="71437" bIns="71437">
              <a:spAutoFit/>
            </a:bodyPr>
            <a:lstStyle>
              <a:lvl1pPr algn="l">
                <a:defRPr sz="2700" spc="-81">
                  <a:solidFill>
                    <a:srgbClr val="43474E"/>
                  </a:solidFill>
                </a:defRPr>
              </a:lvl1pPr>
            </a:lstStyle>
            <a:p>
              <a:pPr marR="0" lvl="0" algn="ctr" defTabSz="821531" rtl="0" eaLnBrk="1" fontAlgn="auto" latinLnBrk="0" hangingPunct="0">
                <a:lnSpc>
                  <a:spcPts val="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1500" b="1" i="0" u="none" strike="noStrike" kern="0" cap="none" spc="-81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O</a:t>
              </a:r>
              <a:r>
                <a:rPr kumimoji="0" lang="en-US" sz="6600" b="1" i="0" u="none" strike="noStrike" kern="0" cap="none" spc="-81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NE</a:t>
              </a:r>
              <a:r>
                <a:rPr kumimoji="0" lang="en-US" sz="6600" b="1" i="0" u="none" strike="noStrike" kern="0" cap="none" spc="-81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 BANK </a:t>
              </a:r>
            </a:p>
            <a:p>
              <a:pPr marR="0" lvl="0" algn="ctr" defTabSz="821531" rtl="0" eaLnBrk="1" fontAlgn="auto" latinLnBrk="0" hangingPunct="0">
                <a:lnSpc>
                  <a:spcPts val="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11500" b="1" i="0" u="none" strike="noStrike" kern="0" cap="none" spc="-81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O</a:t>
              </a:r>
              <a:r>
                <a:rPr kumimoji="0" lang="en-US" sz="6600" b="1" i="0" u="none" strike="noStrike" kern="0" cap="none" spc="-81" normalizeH="0" baseline="0" noProof="0" dirty="0">
                  <a:ln>
                    <a:noFill/>
                  </a:ln>
                  <a:solidFill>
                    <a:srgbClr val="00B0F0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NE</a:t>
              </a:r>
              <a:r>
                <a:rPr kumimoji="0" lang="en-US" sz="6600" b="1" i="0" u="none" strike="noStrike" kern="0" cap="none" spc="-81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 TEAM</a:t>
              </a:r>
            </a:p>
          </p:txBody>
        </p:sp>
        <p:sp>
          <p:nvSpPr>
            <p:cNvPr id="45" name="Shape 608">
              <a:extLst>
                <a:ext uri="{FF2B5EF4-FFF2-40B4-BE49-F238E27FC236}">
                  <a16:creationId xmlns:a16="http://schemas.microsoft.com/office/drawing/2014/main" id="{D11FB0B1-0F89-451C-A301-6CE8C24C4E56}"/>
                </a:ext>
              </a:extLst>
            </p:cNvPr>
            <p:cNvSpPr/>
            <p:nvPr/>
          </p:nvSpPr>
          <p:spPr>
            <a:xfrm>
              <a:off x="12528292" y="1732049"/>
              <a:ext cx="4307773" cy="59702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71437" tIns="71437" rIns="71437" bIns="71437" anchor="ctr">
              <a:spAutoFit/>
            </a:bodyPr>
            <a:lstStyle/>
            <a:p>
              <a:pPr marL="0" marR="0" lvl="0" indent="0" algn="ctr" defTabSz="821531" rtl="0" eaLnBrk="1" fontAlgn="auto" latinLnBrk="0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600">
                  <a:solidFill>
                    <a:srgbClr val="FFFFFF"/>
                  </a:solidFill>
                  <a:latin typeface="Source Sans Pro Semibold"/>
                  <a:ea typeface="Source Sans Pro Semibold"/>
                  <a:cs typeface="Source Sans Pro Semibold"/>
                  <a:sym typeface="Source Sans Pro Semibold"/>
                </a:defRPr>
              </a:pPr>
              <a:r>
                <a:rPr lang="en-US" sz="3600" dirty="0">
                  <a:solidFill>
                    <a:srgbClr val="002060"/>
                  </a:solidFill>
                  <a:latin typeface="Gilroy Bold" panose="00000800000000000000" pitchFamily="50" charset="0"/>
                  <a:ea typeface="Source Sans Pro Semibold"/>
                  <a:sym typeface="Source Sans Pro Semibold"/>
                </a:rPr>
                <a:t>O</a:t>
              </a:r>
              <a:r>
                <a:rPr lang="en-US" altLang="zh-TW" sz="3600" dirty="0">
                  <a:solidFill>
                    <a:srgbClr val="002060"/>
                  </a:solidFill>
                  <a:latin typeface="Gilroy Bold" panose="00000800000000000000" pitchFamily="50" charset="0"/>
                  <a:ea typeface="Source Sans Pro Semibold"/>
                  <a:sym typeface="Source Sans Pro Semibold"/>
                </a:rPr>
                <a:t>UR APPROACH</a:t>
              </a:r>
              <a:endParaRPr kumimoji="0" lang="en-US" sz="3600" b="0" i="0" u="none" strike="noStrike" kern="0" cap="none" spc="-72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Gilroy Bold" panose="00000800000000000000" pitchFamily="50" charset="0"/>
                <a:ea typeface="Source Sans Pro Semibold"/>
                <a:sym typeface="Source Sans Pro Semibold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6780252-6101-4219-936F-7E38C690E302}"/>
                </a:ext>
              </a:extLst>
            </p:cNvPr>
            <p:cNvSpPr txBox="1"/>
            <p:nvPr/>
          </p:nvSpPr>
          <p:spPr>
            <a:xfrm>
              <a:off x="12812688" y="2250634"/>
              <a:ext cx="3732226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R="0" lvl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000" i="0" u="none" strike="noStrike" kern="0" cap="none" spc="-81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to serve the home markets</a:t>
              </a:r>
            </a:p>
          </p:txBody>
        </p:sp>
      </p:grpSp>
      <p:sp>
        <p:nvSpPr>
          <p:cNvPr id="64" name="Slide Number Placeholder 1">
            <a:extLst>
              <a:ext uri="{FF2B5EF4-FFF2-40B4-BE49-F238E27FC236}">
                <a16:creationId xmlns:a16="http://schemas.microsoft.com/office/drawing/2014/main" id="{FE5A8CC8-5E82-43D6-84B3-5888E56D8A0F}"/>
              </a:ext>
            </a:extLst>
          </p:cNvPr>
          <p:cNvSpPr txBox="1">
            <a:spLocks/>
          </p:cNvSpPr>
          <p:nvPr/>
        </p:nvSpPr>
        <p:spPr>
          <a:xfrm>
            <a:off x="179079" y="13010554"/>
            <a:ext cx="846736" cy="5111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2286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indent="4572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indent="6858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indent="9144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indent="11430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indent="13716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indent="16002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indent="18288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marR="0" lvl="0" indent="0" algn="ctr" defTabSz="821531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2400" b="0" i="0" u="none" strike="noStrike" kern="0" cap="none" spc="-72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Gilroy" panose="00000500000000000000" pitchFamily="50" charset="0"/>
                <a:sym typeface="Helvetica Light"/>
              </a:rPr>
              <a:pPr marL="0" marR="0" lvl="0" indent="0" algn="ctr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2400" b="0" i="0" u="none" strike="noStrike" kern="0" cap="none" spc="-72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Gilroy" panose="00000500000000000000" pitchFamily="50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464529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F76109C-C555-49BD-B0B5-CFDEF3871F36}"/>
              </a:ext>
            </a:extLst>
          </p:cNvPr>
          <p:cNvGrpSpPr/>
          <p:nvPr/>
        </p:nvGrpSpPr>
        <p:grpSpPr>
          <a:xfrm>
            <a:off x="0" y="1012024"/>
            <a:ext cx="6160118" cy="12703976"/>
            <a:chOff x="0" y="1012024"/>
            <a:chExt cx="6160118" cy="12703976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2D80A03-AE05-41E4-A65B-BB60DF511808}"/>
                </a:ext>
              </a:extLst>
            </p:cNvPr>
            <p:cNvSpPr txBox="1"/>
            <p:nvPr/>
          </p:nvSpPr>
          <p:spPr>
            <a:xfrm rot="5400000">
              <a:off x="-3271929" y="4283953"/>
              <a:ext cx="12703976" cy="6160118"/>
            </a:xfrm>
            <a:prstGeom prst="rect">
              <a:avLst/>
            </a:prstGeom>
            <a:solidFill>
              <a:srgbClr val="003665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1437" tIns="71437" rIns="71437" bIns="71437" numCol="1" spcCol="38100" rtlCol="0" anchor="ctr">
              <a:spAutoFit/>
            </a:bodyPr>
            <a:lstStyle/>
            <a:p>
              <a:pPr marL="0" marR="0" lvl="0" indent="0" algn="just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0" cap="none" spc="-72" normalizeH="0" baseline="0" noProof="0">
                <a:ln>
                  <a:noFill/>
                </a:ln>
                <a:solidFill>
                  <a:srgbClr val="828994"/>
                </a:solidFill>
                <a:effectLst/>
                <a:uLnTx/>
                <a:uFillTx/>
                <a:latin typeface="Source Sans Pro"/>
                <a:ea typeface="Source Sans Pro"/>
                <a:cs typeface="Source Sans Pro"/>
                <a:sym typeface="Source Sans Pro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D071409-D163-44EF-B7CD-40231B763F67}"/>
                </a:ext>
              </a:extLst>
            </p:cNvPr>
            <p:cNvGrpSpPr/>
            <p:nvPr/>
          </p:nvGrpSpPr>
          <p:grpSpPr>
            <a:xfrm>
              <a:off x="544996" y="9087998"/>
              <a:ext cx="5367474" cy="914400"/>
              <a:chOff x="544995" y="8812231"/>
              <a:chExt cx="5367474" cy="914400"/>
            </a:xfrm>
          </p:grpSpPr>
          <p:sp>
            <p:nvSpPr>
              <p:cNvPr id="42" name="Shape 608">
                <a:extLst>
                  <a:ext uri="{FF2B5EF4-FFF2-40B4-BE49-F238E27FC236}">
                    <a16:creationId xmlns:a16="http://schemas.microsoft.com/office/drawing/2014/main" id="{9154C3D8-BBEF-4D19-802C-4A5FBA0DE70F}"/>
                  </a:ext>
                </a:extLst>
              </p:cNvPr>
              <p:cNvSpPr/>
              <p:nvPr/>
            </p:nvSpPr>
            <p:spPr>
              <a:xfrm>
                <a:off x="544995" y="8970920"/>
                <a:ext cx="5367474" cy="59702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71437" tIns="71437" rIns="71437" bIns="71437" anchor="ctr">
                <a:spAutoFit/>
              </a:bodyPr>
              <a:lstStyle/>
              <a:p>
                <a:pPr marL="0" marR="0" lvl="0" indent="0" algn="r" defTabSz="821531" rtl="0" eaLnBrk="1" fontAlgn="auto" latinLnBrk="0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600">
                    <a:solidFill>
                      <a:srgbClr val="FFFFFF"/>
                    </a:solidFill>
                    <a:latin typeface="Source Sans Pro Semibold"/>
                    <a:ea typeface="Source Sans Pro Semibold"/>
                    <a:cs typeface="Source Sans Pro Semibold"/>
                    <a:sym typeface="Source Sans Pro Semibold"/>
                  </a:defRPr>
                </a:pPr>
                <a:r>
                  <a:rPr kumimoji="0" lang="en-US" sz="3600" b="0" i="0" u="none" strike="noStrike" kern="0" cap="none" spc="-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Semibold"/>
                    <a:ea typeface="Source Sans Pro Semibold"/>
                    <a:sym typeface="Source Sans Pro Semibold"/>
                  </a:rPr>
                  <a:t>Treasury</a:t>
                </a:r>
                <a:endParaRPr kumimoji="0" sz="3600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 Semibold"/>
                  <a:ea typeface="Source Sans Pro Semibold"/>
                  <a:sym typeface="Source Sans Pro Semibold"/>
                </a:endParaRPr>
              </a:p>
            </p:txBody>
          </p:sp>
          <p:pic>
            <p:nvPicPr>
              <p:cNvPr id="44" name="Graphic 43" descr="Safe outline">
                <a:extLst>
                  <a:ext uri="{FF2B5EF4-FFF2-40B4-BE49-F238E27FC236}">
                    <a16:creationId xmlns:a16="http://schemas.microsoft.com/office/drawing/2014/main" id="{4AA51F39-5A1D-4F53-9FFB-13AA4E9328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3107999" y="8812231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7A5BA6C3-457C-4859-8A90-8BA32011AC26}"/>
                </a:ext>
              </a:extLst>
            </p:cNvPr>
            <p:cNvGrpSpPr/>
            <p:nvPr/>
          </p:nvGrpSpPr>
          <p:grpSpPr>
            <a:xfrm>
              <a:off x="544996" y="7356783"/>
              <a:ext cx="5367474" cy="914400"/>
              <a:chOff x="544995" y="7125825"/>
              <a:chExt cx="5367474" cy="914400"/>
            </a:xfrm>
          </p:grpSpPr>
          <p:sp>
            <p:nvSpPr>
              <p:cNvPr id="41" name="Shape 608">
                <a:extLst>
                  <a:ext uri="{FF2B5EF4-FFF2-40B4-BE49-F238E27FC236}">
                    <a16:creationId xmlns:a16="http://schemas.microsoft.com/office/drawing/2014/main" id="{07DFDB35-B94D-43A5-9E40-AF8F0D80AAE0}"/>
                  </a:ext>
                </a:extLst>
              </p:cNvPr>
              <p:cNvSpPr/>
              <p:nvPr/>
            </p:nvSpPr>
            <p:spPr>
              <a:xfrm>
                <a:off x="544995" y="7284514"/>
                <a:ext cx="5367474" cy="59702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71437" tIns="71437" rIns="71437" bIns="71437" anchor="ctr">
                <a:spAutoFit/>
              </a:bodyPr>
              <a:lstStyle/>
              <a:p>
                <a:pPr marL="0" marR="0" lvl="0" indent="0" algn="r" defTabSz="821531" rtl="0" eaLnBrk="1" fontAlgn="auto" latinLnBrk="0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600">
                    <a:solidFill>
                      <a:srgbClr val="FFFFFF"/>
                    </a:solidFill>
                    <a:latin typeface="Source Sans Pro Semibold"/>
                    <a:ea typeface="Source Sans Pro Semibold"/>
                    <a:cs typeface="Source Sans Pro Semibold"/>
                    <a:sym typeface="Source Sans Pro Semibold"/>
                  </a:defRPr>
                </a:pPr>
                <a:r>
                  <a:rPr kumimoji="0" lang="en-US" sz="3600" b="0" i="0" u="none" strike="noStrike" kern="0" cap="none" spc="-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Semibold"/>
                    <a:ea typeface="Source Sans Pro Semibold"/>
                    <a:sym typeface="Source Sans Pro Semibold"/>
                  </a:rPr>
                  <a:t>Trade Finance</a:t>
                </a:r>
                <a:endParaRPr kumimoji="0" sz="3600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 Semibold"/>
                  <a:ea typeface="Source Sans Pro Semibold"/>
                  <a:sym typeface="Source Sans Pro Semibold"/>
                </a:endParaRPr>
              </a:p>
            </p:txBody>
          </p:sp>
          <p:pic>
            <p:nvPicPr>
              <p:cNvPr id="48" name="Graphic 47" descr="Loan outline">
                <a:extLst>
                  <a:ext uri="{FF2B5EF4-FFF2-40B4-BE49-F238E27FC236}">
                    <a16:creationId xmlns:a16="http://schemas.microsoft.com/office/drawing/2014/main" id="{20EDE203-9B84-4FCD-BF18-A28B786024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129411" y="7125825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CF2E4063-0F38-48E7-A9B3-ED2A9A1DACDA}"/>
                </a:ext>
              </a:extLst>
            </p:cNvPr>
            <p:cNvGrpSpPr/>
            <p:nvPr/>
          </p:nvGrpSpPr>
          <p:grpSpPr>
            <a:xfrm>
              <a:off x="544996" y="3758460"/>
              <a:ext cx="5367474" cy="914400"/>
              <a:chOff x="544996" y="3719843"/>
              <a:chExt cx="5367474" cy="914400"/>
            </a:xfrm>
          </p:grpSpPr>
          <p:sp>
            <p:nvSpPr>
              <p:cNvPr id="64" name="Shape 608">
                <a:extLst>
                  <a:ext uri="{FF2B5EF4-FFF2-40B4-BE49-F238E27FC236}">
                    <a16:creationId xmlns:a16="http://schemas.microsoft.com/office/drawing/2014/main" id="{FD2FA993-354E-445C-888F-2B0B5A8F4C37}"/>
                  </a:ext>
                </a:extLst>
              </p:cNvPr>
              <p:cNvSpPr/>
              <p:nvPr/>
            </p:nvSpPr>
            <p:spPr>
              <a:xfrm>
                <a:off x="544996" y="3878532"/>
                <a:ext cx="5367474" cy="59702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71437" tIns="71437" rIns="71437" bIns="71437" anchor="ctr">
                <a:spAutoFit/>
              </a:bodyPr>
              <a:lstStyle/>
              <a:p>
                <a:pPr marL="0" marR="0" lvl="0" indent="0" algn="r" defTabSz="821531" rtl="0" eaLnBrk="1" fontAlgn="auto" latinLnBrk="0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600">
                    <a:solidFill>
                      <a:srgbClr val="FFFFFF"/>
                    </a:solidFill>
                    <a:latin typeface="Source Sans Pro Semibold"/>
                    <a:ea typeface="Source Sans Pro Semibold"/>
                    <a:cs typeface="Source Sans Pro Semibold"/>
                    <a:sym typeface="Source Sans Pro Semibold"/>
                  </a:defRPr>
                </a:pPr>
                <a:r>
                  <a:rPr kumimoji="0" lang="en-US" sz="3600" b="0" i="0" u="none" strike="noStrike" kern="0" cap="none" spc="-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Semibold"/>
                    <a:ea typeface="Source Sans Pro Semibold"/>
                    <a:sym typeface="Source Sans Pro Semibold"/>
                  </a:rPr>
                  <a:t>Cash Management</a:t>
                </a:r>
                <a:endParaRPr kumimoji="0" sz="3600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 Semibold"/>
                  <a:ea typeface="Source Sans Pro Semibold"/>
                  <a:sym typeface="Source Sans Pro Semibold"/>
                </a:endParaRPr>
              </a:p>
            </p:txBody>
          </p:sp>
          <p:pic>
            <p:nvPicPr>
              <p:cNvPr id="51" name="Graphic 50" descr="Philanthropy outline">
                <a:extLst>
                  <a:ext uri="{FF2B5EF4-FFF2-40B4-BE49-F238E27FC236}">
                    <a16:creationId xmlns:a16="http://schemas.microsoft.com/office/drawing/2014/main" id="{DCB57421-5682-47BE-AABD-07A13C7CCA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1215011" y="3719843"/>
                <a:ext cx="914400" cy="914400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82B0FC0-A497-4625-BDCE-7EC5F4E2A623}"/>
                </a:ext>
              </a:extLst>
            </p:cNvPr>
            <p:cNvGrpSpPr/>
            <p:nvPr/>
          </p:nvGrpSpPr>
          <p:grpSpPr>
            <a:xfrm>
              <a:off x="544996" y="5831932"/>
              <a:ext cx="5367474" cy="664291"/>
              <a:chOff x="544995" y="5720717"/>
              <a:chExt cx="5367474" cy="664291"/>
            </a:xfrm>
          </p:grpSpPr>
          <p:sp>
            <p:nvSpPr>
              <p:cNvPr id="67" name="Shape 608">
                <a:extLst>
                  <a:ext uri="{FF2B5EF4-FFF2-40B4-BE49-F238E27FC236}">
                    <a16:creationId xmlns:a16="http://schemas.microsoft.com/office/drawing/2014/main" id="{31F677A5-8CA8-4678-B9A3-4AEFDD8A8B14}"/>
                  </a:ext>
                </a:extLst>
              </p:cNvPr>
              <p:cNvSpPr/>
              <p:nvPr/>
            </p:nvSpPr>
            <p:spPr>
              <a:xfrm>
                <a:off x="544995" y="5754351"/>
                <a:ext cx="5367474" cy="59702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71437" tIns="71437" rIns="71437" bIns="71437" anchor="ctr">
                <a:spAutoFit/>
              </a:bodyPr>
              <a:lstStyle/>
              <a:p>
                <a:pPr marL="0" marR="0" lvl="0" indent="0" algn="r" defTabSz="821531" rtl="0" eaLnBrk="1" fontAlgn="auto" latinLnBrk="0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600">
                    <a:solidFill>
                      <a:srgbClr val="FFFFFF"/>
                    </a:solidFill>
                    <a:latin typeface="Source Sans Pro Semibold"/>
                    <a:ea typeface="Source Sans Pro Semibold"/>
                    <a:cs typeface="Source Sans Pro Semibold"/>
                    <a:sym typeface="Source Sans Pro Semibold"/>
                  </a:defRPr>
                </a:pPr>
                <a:r>
                  <a:rPr kumimoji="0" lang="en-US" sz="3600" b="0" i="0" u="none" strike="noStrike" kern="0" cap="none" spc="-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Semibold"/>
                    <a:ea typeface="Source Sans Pro Semibold"/>
                    <a:sym typeface="Source Sans Pro Semibold"/>
                  </a:rPr>
                  <a:t>Financing</a:t>
                </a:r>
                <a:endParaRPr kumimoji="0" sz="3600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 Semibold"/>
                  <a:ea typeface="Source Sans Pro Semibold"/>
                  <a:sym typeface="Source Sans Pro Semibold"/>
                </a:endParaRPr>
              </a:p>
            </p:txBody>
          </p:sp>
          <p:sp>
            <p:nvSpPr>
              <p:cNvPr id="52" name="Shape 165">
                <a:extLst>
                  <a:ext uri="{FF2B5EF4-FFF2-40B4-BE49-F238E27FC236}">
                    <a16:creationId xmlns:a16="http://schemas.microsoft.com/office/drawing/2014/main" id="{4C155FCE-0FF1-4FFC-A606-E3F04380F0DA}"/>
                  </a:ext>
                </a:extLst>
              </p:cNvPr>
              <p:cNvSpPr/>
              <p:nvPr/>
            </p:nvSpPr>
            <p:spPr>
              <a:xfrm>
                <a:off x="3163880" y="5720717"/>
                <a:ext cx="632146" cy="66429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00" h="21600" extrusionOk="0">
                    <a:moveTo>
                      <a:pt x="21221" y="19912"/>
                    </a:moveTo>
                    <a:cubicBezTo>
                      <a:pt x="20377" y="21262"/>
                      <a:pt x="14977" y="21600"/>
                      <a:pt x="10758" y="21600"/>
                    </a:cubicBezTo>
                    <a:cubicBezTo>
                      <a:pt x="6539" y="21600"/>
                      <a:pt x="1139" y="21262"/>
                      <a:pt x="127" y="19912"/>
                    </a:cubicBezTo>
                    <a:cubicBezTo>
                      <a:pt x="-42" y="19575"/>
                      <a:pt x="-42" y="19069"/>
                      <a:pt x="127" y="18731"/>
                    </a:cubicBezTo>
                    <a:cubicBezTo>
                      <a:pt x="970" y="16200"/>
                      <a:pt x="2658" y="15525"/>
                      <a:pt x="4008" y="15356"/>
                    </a:cubicBezTo>
                    <a:cubicBezTo>
                      <a:pt x="5189" y="15188"/>
                      <a:pt x="6202" y="14850"/>
                      <a:pt x="6708" y="14512"/>
                    </a:cubicBezTo>
                    <a:cubicBezTo>
                      <a:pt x="6708" y="14344"/>
                      <a:pt x="6708" y="13331"/>
                      <a:pt x="6708" y="12656"/>
                    </a:cubicBezTo>
                    <a:cubicBezTo>
                      <a:pt x="5527" y="11306"/>
                      <a:pt x="4683" y="9281"/>
                      <a:pt x="4683" y="7425"/>
                    </a:cubicBezTo>
                    <a:cubicBezTo>
                      <a:pt x="4683" y="3375"/>
                      <a:pt x="6708" y="0"/>
                      <a:pt x="10758" y="0"/>
                    </a:cubicBezTo>
                    <a:cubicBezTo>
                      <a:pt x="14808" y="0"/>
                      <a:pt x="16833" y="3375"/>
                      <a:pt x="16833" y="7425"/>
                    </a:cubicBezTo>
                    <a:cubicBezTo>
                      <a:pt x="16833" y="9281"/>
                      <a:pt x="15989" y="11306"/>
                      <a:pt x="14808" y="12656"/>
                    </a:cubicBezTo>
                    <a:cubicBezTo>
                      <a:pt x="14808" y="12994"/>
                      <a:pt x="14808" y="13331"/>
                      <a:pt x="14808" y="14512"/>
                    </a:cubicBezTo>
                    <a:cubicBezTo>
                      <a:pt x="15314" y="14850"/>
                      <a:pt x="16327" y="15188"/>
                      <a:pt x="17508" y="15356"/>
                    </a:cubicBezTo>
                    <a:cubicBezTo>
                      <a:pt x="18858" y="15525"/>
                      <a:pt x="20546" y="16200"/>
                      <a:pt x="21389" y="18731"/>
                    </a:cubicBezTo>
                    <a:cubicBezTo>
                      <a:pt x="21558" y="19069"/>
                      <a:pt x="21558" y="19575"/>
                      <a:pt x="21221" y="19912"/>
                    </a:cubicBezTo>
                    <a:close/>
                    <a:moveTo>
                      <a:pt x="15483" y="7425"/>
                    </a:moveTo>
                    <a:cubicBezTo>
                      <a:pt x="15483" y="4050"/>
                      <a:pt x="13964" y="1350"/>
                      <a:pt x="10758" y="1350"/>
                    </a:cubicBezTo>
                    <a:cubicBezTo>
                      <a:pt x="7552" y="1350"/>
                      <a:pt x="6033" y="4050"/>
                      <a:pt x="6033" y="7425"/>
                    </a:cubicBezTo>
                    <a:cubicBezTo>
                      <a:pt x="6033" y="10125"/>
                      <a:pt x="8227" y="13500"/>
                      <a:pt x="10758" y="13500"/>
                    </a:cubicBezTo>
                    <a:cubicBezTo>
                      <a:pt x="13289" y="13500"/>
                      <a:pt x="15483" y="10125"/>
                      <a:pt x="15483" y="7425"/>
                    </a:cubicBezTo>
                    <a:close/>
                    <a:moveTo>
                      <a:pt x="17171" y="16706"/>
                    </a:moveTo>
                    <a:cubicBezTo>
                      <a:pt x="15989" y="16537"/>
                      <a:pt x="14808" y="16031"/>
                      <a:pt x="14133" y="15694"/>
                    </a:cubicBezTo>
                    <a:cubicBezTo>
                      <a:pt x="13458" y="15356"/>
                      <a:pt x="13458" y="15356"/>
                      <a:pt x="13458" y="15356"/>
                    </a:cubicBezTo>
                    <a:cubicBezTo>
                      <a:pt x="13458" y="15356"/>
                      <a:pt x="13458" y="14512"/>
                      <a:pt x="13458" y="14006"/>
                    </a:cubicBezTo>
                    <a:cubicBezTo>
                      <a:pt x="12614" y="14512"/>
                      <a:pt x="11771" y="14850"/>
                      <a:pt x="10758" y="14850"/>
                    </a:cubicBezTo>
                    <a:cubicBezTo>
                      <a:pt x="9746" y="14850"/>
                      <a:pt x="8902" y="14512"/>
                      <a:pt x="8058" y="14006"/>
                    </a:cubicBezTo>
                    <a:cubicBezTo>
                      <a:pt x="8058" y="14512"/>
                      <a:pt x="8058" y="15356"/>
                      <a:pt x="8058" y="15356"/>
                    </a:cubicBezTo>
                    <a:cubicBezTo>
                      <a:pt x="7383" y="15694"/>
                      <a:pt x="7383" y="15694"/>
                      <a:pt x="7383" y="15694"/>
                    </a:cubicBezTo>
                    <a:cubicBezTo>
                      <a:pt x="6708" y="16031"/>
                      <a:pt x="5527" y="16537"/>
                      <a:pt x="4177" y="16706"/>
                    </a:cubicBezTo>
                    <a:cubicBezTo>
                      <a:pt x="3164" y="16875"/>
                      <a:pt x="2152" y="17212"/>
                      <a:pt x="1308" y="19069"/>
                    </a:cubicBezTo>
                    <a:cubicBezTo>
                      <a:pt x="1308" y="19237"/>
                      <a:pt x="2489" y="20250"/>
                      <a:pt x="10758" y="20250"/>
                    </a:cubicBezTo>
                    <a:cubicBezTo>
                      <a:pt x="19027" y="20250"/>
                      <a:pt x="20039" y="19237"/>
                      <a:pt x="20208" y="19069"/>
                    </a:cubicBezTo>
                    <a:cubicBezTo>
                      <a:pt x="19364" y="17212"/>
                      <a:pt x="18183" y="16875"/>
                      <a:pt x="17171" y="16706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miter lim="400000"/>
              </a:ln>
            </p:spPr>
            <p:txBody>
              <a:bodyPr lIns="45719" rIns="45719"/>
              <a:lstStyle/>
              <a:p>
                <a:pPr marL="0" marR="0" lvl="0" indent="0" algn="ctr" defTabSz="821531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 spc="0">
                    <a:solidFill>
                      <a:srgbClr val="FFFFFF"/>
                    </a:solidFill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kumimoji="0" sz="32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 Light"/>
                  <a:sym typeface="Helvetica Light"/>
                </a:endParaRP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671E4FAA-0AAB-4AFF-B0D9-63C23C1C7084}"/>
                </a:ext>
              </a:extLst>
            </p:cNvPr>
            <p:cNvGrpSpPr/>
            <p:nvPr/>
          </p:nvGrpSpPr>
          <p:grpSpPr>
            <a:xfrm>
              <a:off x="544996" y="11276287"/>
              <a:ext cx="5367474" cy="597022"/>
              <a:chOff x="544996" y="11272022"/>
              <a:chExt cx="5367474" cy="597022"/>
            </a:xfrm>
          </p:grpSpPr>
          <p:sp>
            <p:nvSpPr>
              <p:cNvPr id="43" name="Shape 608">
                <a:extLst>
                  <a:ext uri="{FF2B5EF4-FFF2-40B4-BE49-F238E27FC236}">
                    <a16:creationId xmlns:a16="http://schemas.microsoft.com/office/drawing/2014/main" id="{BCA39F18-DB36-46D6-AE97-472241AA0CCF}"/>
                  </a:ext>
                </a:extLst>
              </p:cNvPr>
              <p:cNvSpPr/>
              <p:nvPr/>
            </p:nvSpPr>
            <p:spPr>
              <a:xfrm>
                <a:off x="544996" y="11272022"/>
                <a:ext cx="5367474" cy="59702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71437" tIns="71437" rIns="71437" bIns="71437" anchor="ctr">
                <a:spAutoFit/>
              </a:bodyPr>
              <a:lstStyle/>
              <a:p>
                <a:pPr marL="0" marR="0" lvl="0" indent="0" algn="r" defTabSz="821531" rtl="0" eaLnBrk="1" fontAlgn="auto" latinLnBrk="0" hangingPunct="0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600">
                    <a:solidFill>
                      <a:srgbClr val="FFFFFF"/>
                    </a:solidFill>
                    <a:latin typeface="Source Sans Pro Semibold"/>
                    <a:ea typeface="Source Sans Pro Semibold"/>
                    <a:cs typeface="Source Sans Pro Semibold"/>
                    <a:sym typeface="Source Sans Pro Semibold"/>
                  </a:defRPr>
                </a:pPr>
                <a:r>
                  <a:rPr kumimoji="0" lang="en-US" sz="3600" b="0" i="0" u="none" strike="noStrike" kern="0" cap="none" spc="-72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ource Sans Pro Semibold"/>
                    <a:ea typeface="Source Sans Pro Semibold"/>
                    <a:sym typeface="Source Sans Pro Semibold"/>
                  </a:rPr>
                  <a:t>RMB</a:t>
                </a:r>
                <a:endParaRPr kumimoji="0" sz="3600" b="0" i="0" u="none" strike="noStrike" kern="0" cap="none" spc="-7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 Semibold"/>
                  <a:ea typeface="Source Sans Pro Semibold"/>
                  <a:sym typeface="Source Sans Pro Semibold"/>
                </a:endParaRPr>
              </a:p>
            </p:txBody>
          </p:sp>
          <p:pic>
            <p:nvPicPr>
              <p:cNvPr id="1026" name="Picture 2" descr="Chinese Yuan - Free business icons">
                <a:extLst>
                  <a:ext uri="{FF2B5EF4-FFF2-40B4-BE49-F238E27FC236}">
                    <a16:creationId xmlns:a16="http://schemas.microsoft.com/office/drawing/2014/main" id="{9CB2DD05-B7A3-4686-9F38-D04F89B9AE2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lum bright="70000" contrast="-70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89099" y="11272022"/>
                <a:ext cx="597022" cy="5970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6" name="Rectangle 55">
            <a:extLst>
              <a:ext uri="{FF2B5EF4-FFF2-40B4-BE49-F238E27FC236}">
                <a16:creationId xmlns:a16="http://schemas.microsoft.com/office/drawing/2014/main" id="{EFCEB4CD-990C-4D37-B653-ABC473644F11}"/>
              </a:ext>
            </a:extLst>
          </p:cNvPr>
          <p:cNvSpPr/>
          <p:nvPr/>
        </p:nvSpPr>
        <p:spPr>
          <a:xfrm>
            <a:off x="6160119" y="3223517"/>
            <a:ext cx="18223881" cy="104924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Placeholder 5" descr="A couple of skyscrapers&#10;&#10;Description automatically generated with low confidence">
            <a:extLst>
              <a:ext uri="{FF2B5EF4-FFF2-40B4-BE49-F238E27FC236}">
                <a16:creationId xmlns:a16="http://schemas.microsoft.com/office/drawing/2014/main" id="{296E0F23-B119-42B5-AAB8-35FC0B8825E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658" b="16658"/>
          <a:stretch>
            <a:fillRect/>
          </a:stretch>
        </p:blipFill>
        <p:spPr>
          <a:xfrm rot="4242603" flipV="1">
            <a:off x="392387" y="1836949"/>
            <a:ext cx="140977" cy="141013"/>
          </a:xfrm>
          <a:solidFill>
            <a:srgbClr val="003665"/>
          </a:solidFill>
        </p:spPr>
      </p:pic>
      <p:sp>
        <p:nvSpPr>
          <p:cNvPr id="80" name="Shape 80"/>
          <p:cNvSpPr/>
          <p:nvPr/>
        </p:nvSpPr>
        <p:spPr>
          <a:xfrm>
            <a:off x="490072" y="254436"/>
            <a:ext cx="5347617" cy="5077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7" tIns="71437" rIns="71437" bIns="71437" anchor="ctr">
            <a:spAutoFit/>
          </a:bodyPr>
          <a:lstStyle>
            <a:lvl1pPr algn="l">
              <a:defRPr sz="2000" spc="500">
                <a:solidFill>
                  <a:srgbClr val="53585F"/>
                </a:solidFill>
                <a:latin typeface="Montserrat-Regular"/>
                <a:ea typeface="Montserrat-Regular"/>
                <a:cs typeface="Montserrat-Regular"/>
                <a:sym typeface="Montserrat-Regular"/>
              </a:defRPr>
            </a:lvl1pPr>
          </a:lstStyle>
          <a:p>
            <a:pPr marL="0" marR="0" lvl="0" indent="0" algn="l" defTabSz="821531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50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Montserrat-Regular"/>
                <a:sym typeface="Montserrat-Regular"/>
              </a:rPr>
              <a:t>KBC COMMERCIAL BANKING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8010CB6-1E65-4C1A-95C1-D15FFF99C24A}"/>
              </a:ext>
            </a:extLst>
          </p:cNvPr>
          <p:cNvSpPr/>
          <p:nvPr/>
        </p:nvSpPr>
        <p:spPr>
          <a:xfrm>
            <a:off x="23468394" y="138973"/>
            <a:ext cx="851068" cy="70021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pic>
        <p:nvPicPr>
          <p:cNvPr id="22" name="Picture 21" descr="A picture containing logo&#10;&#10;Description automatically generated">
            <a:extLst>
              <a:ext uri="{FF2B5EF4-FFF2-40B4-BE49-F238E27FC236}">
                <a16:creationId xmlns:a16="http://schemas.microsoft.com/office/drawing/2014/main" id="{0A870C3B-7742-4870-B222-F10BADDACC4A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2" r="19144" b="26730"/>
          <a:stretch/>
        </p:blipFill>
        <p:spPr>
          <a:xfrm>
            <a:off x="23389389" y="136375"/>
            <a:ext cx="815532" cy="64969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B6C357D8-EAE1-47F5-AE4A-261F7D5725B4}"/>
              </a:ext>
            </a:extLst>
          </p:cNvPr>
          <p:cNvSpPr/>
          <p:nvPr/>
        </p:nvSpPr>
        <p:spPr>
          <a:xfrm>
            <a:off x="11557581" y="66961"/>
            <a:ext cx="1485900" cy="507702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7" tIns="71437" rIns="71437" bIns="71437" numCol="1" spcCol="38100" rtlCol="0" anchor="ctr">
            <a:spAutoFit/>
          </a:bodyPr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50" name="Shape 89">
            <a:extLst>
              <a:ext uri="{FF2B5EF4-FFF2-40B4-BE49-F238E27FC236}">
                <a16:creationId xmlns:a16="http://schemas.microsoft.com/office/drawing/2014/main" id="{D2E71B1A-5978-4773-90D9-B7DF689DD49C}"/>
              </a:ext>
            </a:extLst>
          </p:cNvPr>
          <p:cNvSpPr/>
          <p:nvPr/>
        </p:nvSpPr>
        <p:spPr>
          <a:xfrm>
            <a:off x="6418881" y="3353621"/>
            <a:ext cx="17205134" cy="20249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437" tIns="71437" rIns="71437" bIns="71437">
            <a:spAutoFit/>
          </a:bodyPr>
          <a:lstStyle>
            <a:lvl1pPr algn="l">
              <a:defRPr sz="2700" spc="-81">
                <a:solidFill>
                  <a:srgbClr val="43474E"/>
                </a:solidFill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Account openings in major international currencies, incl. RMB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Linking the local accounts to your e-banking platform in Europe 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altLang="zh-TW" sz="2400" dirty="0"/>
              <a:t>Cheque book i</a:t>
            </a:r>
            <a:r>
              <a:rPr lang="en-US" sz="2400" dirty="0"/>
              <a:t>ssuance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Cash pooling / concentration: zero / target balancing.</a:t>
            </a:r>
            <a:endParaRPr kumimoji="0" lang="en-US" sz="2400" b="0" i="0" u="none" strike="noStrike" kern="0" cap="none" spc="-81" normalizeH="0" baseline="0" noProof="0" dirty="0">
              <a:ln>
                <a:noFill/>
              </a:ln>
              <a:solidFill>
                <a:srgbClr val="43474E"/>
              </a:solidFill>
              <a:effectLst/>
              <a:uLnTx/>
              <a:uFillTx/>
              <a:sym typeface="Source Sans Pro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44A5B15-94D7-46BF-B711-8F53CED14A65}"/>
              </a:ext>
            </a:extLst>
          </p:cNvPr>
          <p:cNvGrpSpPr/>
          <p:nvPr/>
        </p:nvGrpSpPr>
        <p:grpSpPr>
          <a:xfrm>
            <a:off x="6500068" y="5386815"/>
            <a:ext cx="7164610" cy="76202"/>
            <a:chOff x="7256821" y="10534715"/>
            <a:chExt cx="7164610" cy="76202"/>
          </a:xfrm>
        </p:grpSpPr>
        <p:sp>
          <p:nvSpPr>
            <p:cNvPr id="55" name="Shape 84">
              <a:extLst>
                <a:ext uri="{FF2B5EF4-FFF2-40B4-BE49-F238E27FC236}">
                  <a16:creationId xmlns:a16="http://schemas.microsoft.com/office/drawing/2014/main" id="{6502490F-EA6D-427F-B112-56AD5E014934}"/>
                </a:ext>
              </a:extLst>
            </p:cNvPr>
            <p:cNvSpPr/>
            <p:nvPr/>
          </p:nvSpPr>
          <p:spPr>
            <a:xfrm>
              <a:off x="7256821" y="10610916"/>
              <a:ext cx="7164610" cy="1"/>
            </a:xfrm>
            <a:prstGeom prst="line">
              <a:avLst/>
            </a:prstGeom>
            <a:ln w="12700">
              <a:solidFill>
                <a:srgbClr val="003665"/>
              </a:solidFill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57" name="Shape 88">
              <a:extLst>
                <a:ext uri="{FF2B5EF4-FFF2-40B4-BE49-F238E27FC236}">
                  <a16:creationId xmlns:a16="http://schemas.microsoft.com/office/drawing/2014/main" id="{FB8E420F-178F-494A-8F53-DBBB1DF8E1DD}"/>
                </a:ext>
              </a:extLst>
            </p:cNvPr>
            <p:cNvSpPr/>
            <p:nvPr/>
          </p:nvSpPr>
          <p:spPr>
            <a:xfrm>
              <a:off x="7256821" y="10534715"/>
              <a:ext cx="1500419" cy="76201"/>
            </a:xfrm>
            <a:prstGeom prst="rect">
              <a:avLst/>
            </a:prstGeom>
            <a:solidFill>
              <a:srgbClr val="00AEEF"/>
            </a:solidFill>
            <a:ln w="12700"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77650C57-89F8-4EDE-BBDD-9CC6DD2C129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0" y="1012024"/>
            <a:ext cx="24384000" cy="2211492"/>
          </a:xfrm>
          <a:prstGeom prst="rect">
            <a:avLst/>
          </a:prstGeom>
          <a:ln w="38100">
            <a:noFill/>
          </a:ln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FA6F9C19-5DCF-4CE9-965E-1608C42555ED}"/>
              </a:ext>
            </a:extLst>
          </p:cNvPr>
          <p:cNvSpPr txBox="1"/>
          <p:nvPr/>
        </p:nvSpPr>
        <p:spPr>
          <a:xfrm>
            <a:off x="544465" y="1584085"/>
            <a:ext cx="18945224" cy="82618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0" marR="0" lvl="0" indent="0" algn="just" defTabSz="821531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dirty="0">
                <a:solidFill>
                  <a:srgbClr val="FFFFFF"/>
                </a:solidFill>
                <a:latin typeface="Gilroy" panose="00000500000000000000" pitchFamily="50" charset="0"/>
                <a:ea typeface="Source Sans Pro Semibold"/>
              </a:rPr>
              <a:t>Products and Services </a:t>
            </a:r>
            <a:endParaRPr kumimoji="0" lang="en-US" sz="3600" b="0" i="0" u="none" strike="noStrike" kern="0" cap="none" spc="-7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roy" panose="00000500000000000000" pitchFamily="50" charset="0"/>
              <a:ea typeface="Source Sans Pro Semibold"/>
              <a:sym typeface="Source Sans Pro"/>
            </a:endParaRPr>
          </a:p>
        </p:txBody>
      </p:sp>
      <p:sp>
        <p:nvSpPr>
          <p:cNvPr id="66" name="Shape 89">
            <a:extLst>
              <a:ext uri="{FF2B5EF4-FFF2-40B4-BE49-F238E27FC236}">
                <a16:creationId xmlns:a16="http://schemas.microsoft.com/office/drawing/2014/main" id="{77196695-692B-4731-8076-87EDBF96DBA2}"/>
              </a:ext>
            </a:extLst>
          </p:cNvPr>
          <p:cNvSpPr/>
          <p:nvPr/>
        </p:nvSpPr>
        <p:spPr>
          <a:xfrm>
            <a:off x="6418881" y="5492264"/>
            <a:ext cx="17205134" cy="1544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437" tIns="71437" rIns="71437" bIns="71437">
            <a:spAutoFit/>
          </a:bodyPr>
          <a:lstStyle>
            <a:lvl1pPr algn="l">
              <a:defRPr sz="2700" spc="-81">
                <a:solidFill>
                  <a:srgbClr val="43474E"/>
                </a:solidFill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Debt financing of your local entity – Credit on stand-alone basis or based on your credit  profile and KBC relation in Europe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Working capital and investment credit solutions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Tailor made solutions to serve your local banking needs</a:t>
            </a:r>
            <a:endParaRPr kumimoji="0" lang="en-US" sz="2400" b="0" i="0" u="none" strike="noStrike" kern="0" cap="none" spc="-81" normalizeH="0" baseline="0" noProof="0" dirty="0">
              <a:ln>
                <a:noFill/>
              </a:ln>
              <a:solidFill>
                <a:srgbClr val="43474E"/>
              </a:solidFill>
              <a:effectLst/>
              <a:uLnTx/>
              <a:uFillTx/>
              <a:sym typeface="Source Sans Pro"/>
            </a:endParaRPr>
          </a:p>
        </p:txBody>
      </p:sp>
      <p:sp>
        <p:nvSpPr>
          <p:cNvPr id="68" name="Shape 89">
            <a:extLst>
              <a:ext uri="{FF2B5EF4-FFF2-40B4-BE49-F238E27FC236}">
                <a16:creationId xmlns:a16="http://schemas.microsoft.com/office/drawing/2014/main" id="{1E570D4B-A505-4FA4-A648-E9A27E349C2D}"/>
              </a:ext>
            </a:extLst>
          </p:cNvPr>
          <p:cNvSpPr/>
          <p:nvPr/>
        </p:nvSpPr>
        <p:spPr>
          <a:xfrm>
            <a:off x="6418881" y="7187980"/>
            <a:ext cx="17205134" cy="15448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437" tIns="71437" rIns="71437" bIns="71437">
            <a:spAutoFit/>
          </a:bodyPr>
          <a:lstStyle>
            <a:lvl1pPr algn="l">
              <a:defRPr sz="2700" spc="-81">
                <a:solidFill>
                  <a:srgbClr val="43474E"/>
                </a:solidFill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Highly experienced trade finance desk with a dedicated contact person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Import and export invoice financing 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Documentary credits, trust receipt, bank guarantees, performance bond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A28DB2B-1CDB-4DE9-9AC8-786891840C7B}"/>
              </a:ext>
            </a:extLst>
          </p:cNvPr>
          <p:cNvGrpSpPr/>
          <p:nvPr/>
        </p:nvGrpSpPr>
        <p:grpSpPr>
          <a:xfrm>
            <a:off x="6479275" y="7090978"/>
            <a:ext cx="7164610" cy="76202"/>
            <a:chOff x="7256821" y="10534715"/>
            <a:chExt cx="7164610" cy="76202"/>
          </a:xfrm>
        </p:grpSpPr>
        <p:sp>
          <p:nvSpPr>
            <p:cNvPr id="71" name="Shape 84">
              <a:extLst>
                <a:ext uri="{FF2B5EF4-FFF2-40B4-BE49-F238E27FC236}">
                  <a16:creationId xmlns:a16="http://schemas.microsoft.com/office/drawing/2014/main" id="{440A833A-CC95-41AF-9E1F-E966B57519A0}"/>
                </a:ext>
              </a:extLst>
            </p:cNvPr>
            <p:cNvSpPr/>
            <p:nvPr/>
          </p:nvSpPr>
          <p:spPr>
            <a:xfrm>
              <a:off x="7256821" y="10610916"/>
              <a:ext cx="7164610" cy="1"/>
            </a:xfrm>
            <a:prstGeom prst="line">
              <a:avLst/>
            </a:prstGeom>
            <a:ln w="12700">
              <a:solidFill>
                <a:srgbClr val="003665"/>
              </a:solidFill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72" name="Shape 88">
              <a:extLst>
                <a:ext uri="{FF2B5EF4-FFF2-40B4-BE49-F238E27FC236}">
                  <a16:creationId xmlns:a16="http://schemas.microsoft.com/office/drawing/2014/main" id="{35B13C70-1A1D-42DD-8EE4-74A5DB1A06C4}"/>
                </a:ext>
              </a:extLst>
            </p:cNvPr>
            <p:cNvSpPr/>
            <p:nvPr/>
          </p:nvSpPr>
          <p:spPr>
            <a:xfrm>
              <a:off x="7256821" y="10534715"/>
              <a:ext cx="1500419" cy="76201"/>
            </a:xfrm>
            <a:prstGeom prst="rect">
              <a:avLst/>
            </a:prstGeom>
            <a:solidFill>
              <a:srgbClr val="00AEEF"/>
            </a:solidFill>
            <a:ln w="12700"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  <p:sp>
        <p:nvSpPr>
          <p:cNvPr id="77" name="Shape 89">
            <a:extLst>
              <a:ext uri="{FF2B5EF4-FFF2-40B4-BE49-F238E27FC236}">
                <a16:creationId xmlns:a16="http://schemas.microsoft.com/office/drawing/2014/main" id="{8303E77E-7AC4-4A57-B4D4-CB8554FCF036}"/>
              </a:ext>
            </a:extLst>
          </p:cNvPr>
          <p:cNvSpPr/>
          <p:nvPr/>
        </p:nvSpPr>
        <p:spPr>
          <a:xfrm>
            <a:off x="6500068" y="9821271"/>
            <a:ext cx="17205134" cy="6395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437" tIns="71437" rIns="71437" bIns="71437">
            <a:spAutoFit/>
          </a:bodyPr>
          <a:lstStyle>
            <a:lvl1pPr algn="l">
              <a:defRPr sz="2700" spc="-81">
                <a:solidFill>
                  <a:srgbClr val="43474E"/>
                </a:solidFill>
              </a:defRPr>
            </a:lvl1pPr>
          </a:lstStyle>
          <a:p>
            <a:pPr marL="0" marR="0" lvl="0" indent="0" algn="l" defTabSz="821531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700" b="0" i="0" u="none" strike="noStrike" kern="0" cap="none" spc="-81" normalizeH="0" baseline="0" noProof="0">
              <a:ln>
                <a:noFill/>
              </a:ln>
              <a:solidFill>
                <a:srgbClr val="43474E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</p:txBody>
      </p:sp>
      <p:sp>
        <p:nvSpPr>
          <p:cNvPr id="82" name="Shape 89">
            <a:extLst>
              <a:ext uri="{FF2B5EF4-FFF2-40B4-BE49-F238E27FC236}">
                <a16:creationId xmlns:a16="http://schemas.microsoft.com/office/drawing/2014/main" id="{4B472B00-AE5E-4529-9845-A4C473E7BC24}"/>
              </a:ext>
            </a:extLst>
          </p:cNvPr>
          <p:cNvSpPr/>
          <p:nvPr/>
        </p:nvSpPr>
        <p:spPr>
          <a:xfrm>
            <a:off x="6418881" y="10586422"/>
            <a:ext cx="17205134" cy="25051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71437" tIns="71437" rIns="71437" bIns="71437">
            <a:spAutoFit/>
          </a:bodyPr>
          <a:lstStyle>
            <a:lvl1pPr algn="l">
              <a:defRPr sz="2700" spc="-81">
                <a:solidFill>
                  <a:srgbClr val="43474E"/>
                </a:solidFill>
              </a:defRPr>
            </a:lvl1pPr>
          </a:lstStyle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RMB current </a:t>
            </a:r>
            <a:r>
              <a:rPr lang="en-US" sz="2400"/>
              <a:t>accounts in </a:t>
            </a:r>
            <a:r>
              <a:rPr lang="en-US" sz="2400" dirty="0"/>
              <a:t>CNH and CNY and RMB Deposits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Cross-border RMB payments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RMB forwards for hedging purposes 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Trade Finance services in RMB (RMB LC opening, Discounting of RMB LC) </a:t>
            </a:r>
          </a:p>
          <a:p>
            <a:pPr marL="457200" lvl="0" indent="-457200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Financing in RMB – Short Term Advance in RMB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902A343-CF2C-406A-8D21-AE278269E619}"/>
              </a:ext>
            </a:extLst>
          </p:cNvPr>
          <p:cNvSpPr txBox="1"/>
          <p:nvPr/>
        </p:nvSpPr>
        <p:spPr>
          <a:xfrm>
            <a:off x="6418881" y="8888355"/>
            <a:ext cx="15284533" cy="14929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spc="-81" dirty="0">
                <a:solidFill>
                  <a:srgbClr val="43474E"/>
                </a:solidFill>
              </a:rPr>
              <a:t> In house dealing room in each branch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spc="-81" dirty="0">
                <a:solidFill>
                  <a:srgbClr val="43474E"/>
                </a:solidFill>
              </a:rPr>
              <a:t>Tailor made solutions for your FX and interest rate hedging needs</a:t>
            </a:r>
          </a:p>
          <a:p>
            <a:pPr marL="457200" indent="-457200" algn="l">
              <a:buFont typeface="Arial" panose="020B0604020202020204" pitchFamily="34" charset="0"/>
              <a:buChar char="•"/>
              <a:defRPr/>
            </a:pPr>
            <a:r>
              <a:rPr lang="en-US" spc="-81" dirty="0">
                <a:solidFill>
                  <a:srgbClr val="43474E"/>
                </a:solidFill>
              </a:rPr>
              <a:t>Derivatives</a:t>
            </a:r>
          </a:p>
        </p:txBody>
      </p:sp>
      <p:sp>
        <p:nvSpPr>
          <p:cNvPr id="58" name="Slide Number Placeholder 1">
            <a:extLst>
              <a:ext uri="{FF2B5EF4-FFF2-40B4-BE49-F238E27FC236}">
                <a16:creationId xmlns:a16="http://schemas.microsoft.com/office/drawing/2014/main" id="{BB8E1164-8E41-4B7E-9ECE-DBA98C8A3955}"/>
              </a:ext>
            </a:extLst>
          </p:cNvPr>
          <p:cNvSpPr txBox="1">
            <a:spLocks/>
          </p:cNvSpPr>
          <p:nvPr/>
        </p:nvSpPr>
        <p:spPr>
          <a:xfrm>
            <a:off x="179079" y="13010554"/>
            <a:ext cx="846736" cy="51117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0" marR="0" indent="2286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0" marR="0" indent="4572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0" marR="0" indent="6858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0" marR="0" indent="9144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0" marR="0" indent="11430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0" marR="0" indent="13716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0" marR="0" indent="16002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0" marR="0" indent="1828800" algn="just" defTabSz="821531" rtl="0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-72" normalizeH="0" baseline="0">
                <a:ln>
                  <a:noFill/>
                </a:ln>
                <a:solidFill>
                  <a:srgbClr val="828994"/>
                </a:solidFill>
                <a:effectLst/>
                <a:uFillTx/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pPr marL="0" marR="0" lvl="0" indent="0" algn="ctr" defTabSz="821531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2400" b="0" i="0" u="none" strike="noStrike" kern="0" cap="none" spc="-72" normalizeH="0" baseline="0" noProof="0" smtClean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Gilroy" panose="00000500000000000000" pitchFamily="50" charset="0"/>
                <a:sym typeface="Helvetica Light"/>
              </a:rPr>
              <a:pPr marL="0" marR="0" lvl="0" indent="0" algn="ctr" defTabSz="821531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2400" b="0" i="0" u="none" strike="noStrike" kern="0" cap="none" spc="-72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Gilroy" panose="00000500000000000000" pitchFamily="50" charset="0"/>
              <a:sym typeface="Helvetica Light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7662007F-248B-435D-B862-FC9CA3C077D5}"/>
              </a:ext>
            </a:extLst>
          </p:cNvPr>
          <p:cNvGrpSpPr/>
          <p:nvPr/>
        </p:nvGrpSpPr>
        <p:grpSpPr>
          <a:xfrm>
            <a:off x="6500068" y="10558366"/>
            <a:ext cx="7164610" cy="76202"/>
            <a:chOff x="7256821" y="10534715"/>
            <a:chExt cx="7164610" cy="76202"/>
          </a:xfrm>
        </p:grpSpPr>
        <p:sp>
          <p:nvSpPr>
            <p:cNvPr id="79" name="Shape 84">
              <a:extLst>
                <a:ext uri="{FF2B5EF4-FFF2-40B4-BE49-F238E27FC236}">
                  <a16:creationId xmlns:a16="http://schemas.microsoft.com/office/drawing/2014/main" id="{7CEAD8AA-295A-4981-BD56-ECEEF2C83A02}"/>
                </a:ext>
              </a:extLst>
            </p:cNvPr>
            <p:cNvSpPr/>
            <p:nvPr/>
          </p:nvSpPr>
          <p:spPr>
            <a:xfrm>
              <a:off x="7256821" y="10610916"/>
              <a:ext cx="7164610" cy="1"/>
            </a:xfrm>
            <a:prstGeom prst="line">
              <a:avLst/>
            </a:prstGeom>
            <a:ln w="12700">
              <a:solidFill>
                <a:srgbClr val="003665"/>
              </a:solidFill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81" name="Shape 88">
              <a:extLst>
                <a:ext uri="{FF2B5EF4-FFF2-40B4-BE49-F238E27FC236}">
                  <a16:creationId xmlns:a16="http://schemas.microsoft.com/office/drawing/2014/main" id="{E055D147-10EB-4801-A678-0367399A113F}"/>
                </a:ext>
              </a:extLst>
            </p:cNvPr>
            <p:cNvSpPr/>
            <p:nvPr/>
          </p:nvSpPr>
          <p:spPr>
            <a:xfrm>
              <a:off x="7256821" y="10534715"/>
              <a:ext cx="1500419" cy="76201"/>
            </a:xfrm>
            <a:prstGeom prst="rect">
              <a:avLst/>
            </a:prstGeom>
            <a:solidFill>
              <a:srgbClr val="00AEEF"/>
            </a:solidFill>
            <a:ln w="12700"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B508260-9244-4614-9F72-4BD1E7A73DEE}"/>
              </a:ext>
            </a:extLst>
          </p:cNvPr>
          <p:cNvGrpSpPr/>
          <p:nvPr/>
        </p:nvGrpSpPr>
        <p:grpSpPr>
          <a:xfrm>
            <a:off x="6457466" y="8836226"/>
            <a:ext cx="7164610" cy="76202"/>
            <a:chOff x="7256821" y="10534715"/>
            <a:chExt cx="7164610" cy="76202"/>
          </a:xfrm>
        </p:grpSpPr>
        <p:sp>
          <p:nvSpPr>
            <p:cNvPr id="75" name="Shape 84">
              <a:extLst>
                <a:ext uri="{FF2B5EF4-FFF2-40B4-BE49-F238E27FC236}">
                  <a16:creationId xmlns:a16="http://schemas.microsoft.com/office/drawing/2014/main" id="{E95B68F3-C4FB-42C6-9E53-86515C97632A}"/>
                </a:ext>
              </a:extLst>
            </p:cNvPr>
            <p:cNvSpPr/>
            <p:nvPr/>
          </p:nvSpPr>
          <p:spPr>
            <a:xfrm>
              <a:off x="7256821" y="10610916"/>
              <a:ext cx="7164610" cy="1"/>
            </a:xfrm>
            <a:prstGeom prst="line">
              <a:avLst/>
            </a:prstGeom>
            <a:ln w="12700">
              <a:solidFill>
                <a:srgbClr val="003665"/>
              </a:solidFill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000000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  <p:sp>
          <p:nvSpPr>
            <p:cNvPr id="76" name="Shape 88">
              <a:extLst>
                <a:ext uri="{FF2B5EF4-FFF2-40B4-BE49-F238E27FC236}">
                  <a16:creationId xmlns:a16="http://schemas.microsoft.com/office/drawing/2014/main" id="{B52282DD-E521-490E-A340-74D6BC3DB3E9}"/>
                </a:ext>
              </a:extLst>
            </p:cNvPr>
            <p:cNvSpPr/>
            <p:nvPr/>
          </p:nvSpPr>
          <p:spPr>
            <a:xfrm>
              <a:off x="7256821" y="10534715"/>
              <a:ext cx="1500419" cy="76201"/>
            </a:xfrm>
            <a:prstGeom prst="rect">
              <a:avLst/>
            </a:prstGeom>
            <a:solidFill>
              <a:srgbClr val="00AEEF"/>
            </a:solidFill>
            <a:ln w="12700">
              <a:miter lim="400000"/>
            </a:ln>
          </p:spPr>
          <p:txBody>
            <a:bodyPr lIns="71437" tIns="71437" rIns="71437" bIns="71437" anchor="ctr"/>
            <a:lstStyle/>
            <a:p>
              <a:pPr marL="0" marR="0" lvl="0" indent="0" algn="ctr" defTabSz="821531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spc="0">
                  <a:solidFill>
                    <a:srgbClr val="FFFFFF"/>
                  </a:solidFill>
                  <a:latin typeface="Helvetica Light"/>
                  <a:ea typeface="Helvetica Light"/>
                  <a:cs typeface="Helvetica Light"/>
                  <a:sym typeface="Helvetica Light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05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5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 animBg="1"/>
      <p:bldP spid="66" grpId="0" animBg="1"/>
      <p:bldP spid="68" grpId="0" animBg="1"/>
      <p:bldP spid="77" grpId="0" animBg="1"/>
      <p:bldP spid="82" grpId="0" animBg="1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icture containing sky, outdoor, water, city&#10;&#10;Description automatically generated">
            <a:extLst>
              <a:ext uri="{FF2B5EF4-FFF2-40B4-BE49-F238E27FC236}">
                <a16:creationId xmlns:a16="http://schemas.microsoft.com/office/drawing/2014/main" id="{33903448-7F54-4916-8294-5F580BEC90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97887" y="1104897"/>
            <a:ext cx="8486114" cy="12611099"/>
          </a:xfrm>
          <a:prstGeom prst="rect">
            <a:avLst/>
          </a:prstGeom>
        </p:spPr>
      </p:pic>
      <p:sp>
        <p:nvSpPr>
          <p:cNvPr id="3106" name="Shape 3106"/>
          <p:cNvSpPr/>
          <p:nvPr/>
        </p:nvSpPr>
        <p:spPr>
          <a:xfrm>
            <a:off x="1" y="1104898"/>
            <a:ext cx="16388682" cy="126167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0962" y="21600"/>
                </a:lnTo>
                <a:lnTo>
                  <a:pt x="20962" y="11675"/>
                </a:lnTo>
                <a:lnTo>
                  <a:pt x="21600" y="10335"/>
                </a:lnTo>
                <a:lnTo>
                  <a:pt x="20962" y="10335"/>
                </a:lnTo>
                <a:lnTo>
                  <a:pt x="20962" y="10327"/>
                </a:lnTo>
                <a:lnTo>
                  <a:pt x="21600" y="10327"/>
                </a:lnTo>
                <a:lnTo>
                  <a:pt x="20962" y="8987"/>
                </a:lnTo>
                <a:lnTo>
                  <a:pt x="2096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665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3115" name="Shape 3115"/>
          <p:cNvSpPr/>
          <p:nvPr/>
        </p:nvSpPr>
        <p:spPr>
          <a:xfrm>
            <a:off x="490073" y="254436"/>
            <a:ext cx="5347619" cy="5077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l">
              <a:defRPr sz="2000" spc="500">
                <a:solidFill>
                  <a:srgbClr val="53585F"/>
                </a:solidFill>
                <a:latin typeface="Montserrat-Regular"/>
                <a:ea typeface="Montserrat-Regular"/>
                <a:cs typeface="Montserrat-Regular"/>
                <a:sym typeface="Montserrat-Regular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50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Montserrat-Regular"/>
                <a:sym typeface="Montserrat-Regular"/>
              </a:rPr>
              <a:t>KBC COMMERCIAL BANKING</a:t>
            </a:r>
          </a:p>
        </p:txBody>
      </p:sp>
      <p:sp>
        <p:nvSpPr>
          <p:cNvPr id="3126" name="Shape 3126"/>
          <p:cNvSpPr/>
          <p:nvPr/>
        </p:nvSpPr>
        <p:spPr>
          <a:xfrm>
            <a:off x="2392012" y="4369190"/>
            <a:ext cx="3943068" cy="598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r">
              <a:lnSpc>
                <a:spcPct val="80000"/>
              </a:lnSpc>
              <a:defRPr sz="3600">
                <a:solidFill>
                  <a:srgbClr val="FFFFFF"/>
                </a:solidFill>
                <a:latin typeface="+mn-lt"/>
                <a:ea typeface="+mn-ea"/>
                <a:cs typeface="+mn-cs"/>
                <a:sym typeface="Montserrat-Bold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7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Montserrat-Bold"/>
              </a:rPr>
              <a:t>Relevant Information</a:t>
            </a:r>
            <a:endParaRPr kumimoji="0" sz="3600" b="0" i="0" u="none" strike="noStrike" kern="0" cap="none" spc="-7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Montserrat-Bold"/>
            </a:endParaRPr>
          </a:p>
        </p:txBody>
      </p:sp>
      <p:sp>
        <p:nvSpPr>
          <p:cNvPr id="3127" name="Shape 3127"/>
          <p:cNvSpPr/>
          <p:nvPr/>
        </p:nvSpPr>
        <p:spPr>
          <a:xfrm>
            <a:off x="2392984" y="3392090"/>
            <a:ext cx="6668237" cy="8485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r">
              <a:lnSpc>
                <a:spcPct val="80000"/>
              </a:lnSpc>
              <a:defRPr sz="5600" spc="-112">
                <a:solidFill>
                  <a:srgbClr val="FFFFFF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0" cap="none" spc="-11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/>
                <a:ea typeface="Source Sans Pro Light"/>
                <a:sym typeface="Source Sans Pro Light"/>
              </a:rPr>
              <a:t>KBC Bank NV Shanghai</a:t>
            </a:r>
            <a:endParaRPr kumimoji="0" sz="5600" b="0" i="0" u="none" strike="noStrike" kern="0" cap="none" spc="-11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/>
              <a:ea typeface="Source Sans Pro Light"/>
              <a:sym typeface="Source Sans Pro Light"/>
            </a:endParaRPr>
          </a:p>
        </p:txBody>
      </p:sp>
      <p:sp>
        <p:nvSpPr>
          <p:cNvPr id="3129" name="Shape 3129"/>
          <p:cNvSpPr/>
          <p:nvPr/>
        </p:nvSpPr>
        <p:spPr>
          <a:xfrm>
            <a:off x="2392013" y="5481963"/>
            <a:ext cx="7164610" cy="2"/>
          </a:xfrm>
          <a:prstGeom prst="line">
            <a:avLst/>
          </a:prstGeom>
          <a:ln w="12700">
            <a:solidFill>
              <a:srgbClr val="FFFFFF">
                <a:alpha val="39961"/>
              </a:srgbClr>
            </a:solidFill>
            <a:miter lim="400000"/>
          </a:ln>
        </p:spPr>
        <p:txBody>
          <a:bodyPr lIns="71438" tIns="71438" rIns="71438" bIns="71438" anchor="ctr"/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47FD88-3AA5-4324-B570-7CF443AFDF46}"/>
              </a:ext>
            </a:extLst>
          </p:cNvPr>
          <p:cNvSpPr/>
          <p:nvPr/>
        </p:nvSpPr>
        <p:spPr>
          <a:xfrm>
            <a:off x="10868526" y="13380"/>
            <a:ext cx="2646948" cy="784447"/>
          </a:xfrm>
          <a:prstGeom prst="rect">
            <a:avLst/>
          </a:prstGeom>
          <a:solidFill>
            <a:srgbClr val="FFFFFF"/>
          </a:solidFill>
          <a:ln w="12700" cap="flat">
            <a:solidFill>
              <a:srgbClr val="FFFF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8" tIns="71438" rIns="71438" bIns="71438" numCol="1" spcCol="38100" rtlCol="0" anchor="ctr">
            <a:spAutoFit/>
          </a:bodyPr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-7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A2A14EDC-1A8F-402C-9157-AB24BC82941E}"/>
              </a:ext>
            </a:extLst>
          </p:cNvPr>
          <p:cNvGrpSpPr/>
          <p:nvPr/>
        </p:nvGrpSpPr>
        <p:grpSpPr>
          <a:xfrm>
            <a:off x="992647" y="9344816"/>
            <a:ext cx="2060461" cy="1240788"/>
            <a:chOff x="10360108" y="10774379"/>
            <a:chExt cx="3643328" cy="1990646"/>
          </a:xfrm>
        </p:grpSpPr>
        <p:pic>
          <p:nvPicPr>
            <p:cNvPr id="25" name="Picture 24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29A602BA-A341-4CB2-A44B-EDBBF6DB01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653"/>
            <a:stretch/>
          </p:blipFill>
          <p:spPr>
            <a:xfrm>
              <a:off x="10609711" y="10774379"/>
              <a:ext cx="3164577" cy="1570022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A4C41614-C1C5-4370-8A62-0F56592E8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903"/>
            <a:stretch/>
          </p:blipFill>
          <p:spPr>
            <a:xfrm>
              <a:off x="10360108" y="12143233"/>
              <a:ext cx="3643328" cy="621792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45566247-1A7F-44C3-8C46-291778382AE3}"/>
              </a:ext>
            </a:extLst>
          </p:cNvPr>
          <p:cNvSpPr txBox="1"/>
          <p:nvPr/>
        </p:nvSpPr>
        <p:spPr>
          <a:xfrm>
            <a:off x="3314908" y="9004390"/>
            <a:ext cx="6392669" cy="3288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spc="-36">
                <a:solidFill>
                  <a:srgbClr val="00B0F0"/>
                </a:solidFill>
              </a:rPr>
              <a:t>Head of Commercial Banking</a:t>
            </a:r>
            <a:endParaRPr kumimoji="0" lang="en-US" b="1" i="0" u="none" strike="noStrike" kern="0" cap="none" spc="-36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Skip Zhang</a:t>
            </a: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T: +86 21 6823 6277</a:t>
            </a: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E-mail: 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n.zhang@kbc.be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 </a:t>
            </a:r>
          </a:p>
          <a:p>
            <a:pPr defTabSz="410766">
              <a:defRPr/>
            </a:pPr>
            <a:endParaRPr kumimoji="0" lang="en-US" sz="2700" b="0" i="0" u="none" strike="noStrike" kern="0" cap="none" spc="-8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defTabSz="410766">
              <a:defRPr/>
            </a:pP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Website: </a:t>
            </a: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kbc.be/china</a:t>
            </a: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 </a:t>
            </a:r>
          </a:p>
        </p:txBody>
      </p:sp>
      <p:sp>
        <p:nvSpPr>
          <p:cNvPr id="27" name="Shape 3129">
            <a:extLst>
              <a:ext uri="{FF2B5EF4-FFF2-40B4-BE49-F238E27FC236}">
                <a16:creationId xmlns:a16="http://schemas.microsoft.com/office/drawing/2014/main" id="{A4549C01-7AC0-4FCD-A62F-5184168132B1}"/>
              </a:ext>
            </a:extLst>
          </p:cNvPr>
          <p:cNvSpPr/>
          <p:nvPr/>
        </p:nvSpPr>
        <p:spPr>
          <a:xfrm>
            <a:off x="2392012" y="5481961"/>
            <a:ext cx="7164610" cy="1"/>
          </a:xfrm>
          <a:prstGeom prst="line">
            <a:avLst/>
          </a:prstGeom>
          <a:ln w="12700">
            <a:solidFill>
              <a:srgbClr val="FFFFFF">
                <a:alpha val="39961"/>
              </a:srgbClr>
            </a:solidFill>
            <a:miter lim="400000"/>
          </a:ln>
        </p:spPr>
        <p:txBody>
          <a:bodyPr lIns="71437" tIns="71437" rIns="71437" bIns="71437" anchor="ctr"/>
          <a:lstStyle/>
          <a:p>
            <a:pPr marL="0" marR="0" lvl="0" indent="0" algn="ctr" defTabSz="82153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446F1B9-2CFD-44D6-83CA-5C6B48AFDE4A}"/>
              </a:ext>
            </a:extLst>
          </p:cNvPr>
          <p:cNvGrpSpPr/>
          <p:nvPr/>
        </p:nvGrpSpPr>
        <p:grpSpPr>
          <a:xfrm>
            <a:off x="1525494" y="5664051"/>
            <a:ext cx="8182084" cy="3340339"/>
            <a:chOff x="1525494" y="5664051"/>
            <a:chExt cx="8182084" cy="3340339"/>
          </a:xfrm>
        </p:grpSpPr>
        <p:sp>
          <p:nvSpPr>
            <p:cNvPr id="3111" name="Shape 3111"/>
            <p:cNvSpPr/>
            <p:nvPr/>
          </p:nvSpPr>
          <p:spPr>
            <a:xfrm>
              <a:off x="3314908" y="5664051"/>
              <a:ext cx="6392670" cy="334033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71438" tIns="71438" rIns="71438" bIns="71438">
              <a:spAutoFit/>
            </a:bodyPr>
            <a:lstStyle/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KBC Bank NV Shanghai 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Room 2703/2708, </a:t>
              </a:r>
              <a:r>
                <a:rPr kumimoji="0" lang="en-US" sz="2700" b="0" i="0" u="none" strike="noStrike" kern="0" cap="none" spc="-82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Taikang</a:t>
              </a:r>
              <a:r>
                <a:rPr kumimoji="0" lang="en-US" sz="2700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 Insurance Building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No. 429 </a:t>
              </a:r>
              <a:r>
                <a:rPr kumimoji="0" lang="en-US" sz="2700" b="0" i="0" u="none" strike="noStrike" kern="0" cap="none" spc="-82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Nanquan</a:t>
              </a:r>
              <a:r>
                <a:rPr kumimoji="0" lang="en-US" sz="2700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 North Rd.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Pudong New Area, Shanghai 200120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China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endParaRPr kumimoji="0" sz="2700" b="0" i="0" u="none" strike="noStrike" kern="0" cap="none" spc="-8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endParaRPr>
            </a:p>
          </p:txBody>
        </p:sp>
        <p:pic>
          <p:nvPicPr>
            <p:cNvPr id="42" name="Graphic 41" descr="Marker with solid fill">
              <a:extLst>
                <a:ext uri="{FF2B5EF4-FFF2-40B4-BE49-F238E27FC236}">
                  <a16:creationId xmlns:a16="http://schemas.microsoft.com/office/drawing/2014/main" id="{F779BD2C-CEE2-46F2-BB12-5474C269154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525494" y="6348664"/>
              <a:ext cx="1028280" cy="1028280"/>
            </a:xfrm>
            <a:prstGeom prst="rect">
              <a:avLst/>
            </a:prstGeom>
          </p:spPr>
        </p:pic>
      </p:grpSp>
      <p:pic>
        <p:nvPicPr>
          <p:cNvPr id="17" name="Picture 16" descr="A picture containing logo&#10;&#10;Description automatically generated">
            <a:extLst>
              <a:ext uri="{FF2B5EF4-FFF2-40B4-BE49-F238E27FC236}">
                <a16:creationId xmlns:a16="http://schemas.microsoft.com/office/drawing/2014/main" id="{93970372-1035-43F3-8B5A-F8B6375C58B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2" r="19144" b="26730"/>
          <a:stretch/>
        </p:blipFill>
        <p:spPr>
          <a:xfrm>
            <a:off x="23389389" y="136375"/>
            <a:ext cx="815532" cy="64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85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city skyline at night&#10;&#10;Description automatically generated with medium confidence">
            <a:extLst>
              <a:ext uri="{FF2B5EF4-FFF2-40B4-BE49-F238E27FC236}">
                <a16:creationId xmlns:a16="http://schemas.microsoft.com/office/drawing/2014/main" id="{81E186D1-117D-4EDF-8926-3036F9C9C08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00" t="-8130" r="31095" b="-1"/>
          <a:stretch/>
        </p:blipFill>
        <p:spPr>
          <a:xfrm>
            <a:off x="15934947" y="0"/>
            <a:ext cx="8449053" cy="13716000"/>
          </a:xfrm>
          <a:prstGeom prst="rect">
            <a:avLst/>
          </a:prstGeom>
        </p:spPr>
      </p:pic>
      <p:sp>
        <p:nvSpPr>
          <p:cNvPr id="3106" name="Shape 3106"/>
          <p:cNvSpPr/>
          <p:nvPr/>
        </p:nvSpPr>
        <p:spPr>
          <a:xfrm>
            <a:off x="1" y="1031289"/>
            <a:ext cx="16388682" cy="126847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0962" y="21600"/>
                </a:lnTo>
                <a:lnTo>
                  <a:pt x="20962" y="11675"/>
                </a:lnTo>
                <a:lnTo>
                  <a:pt x="21600" y="10335"/>
                </a:lnTo>
                <a:lnTo>
                  <a:pt x="20962" y="10335"/>
                </a:lnTo>
                <a:lnTo>
                  <a:pt x="20962" y="10327"/>
                </a:lnTo>
                <a:lnTo>
                  <a:pt x="21600" y="10327"/>
                </a:lnTo>
                <a:lnTo>
                  <a:pt x="20962" y="8987"/>
                </a:lnTo>
                <a:lnTo>
                  <a:pt x="2096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665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3115" name="Shape 3115"/>
          <p:cNvSpPr/>
          <p:nvPr/>
        </p:nvSpPr>
        <p:spPr>
          <a:xfrm>
            <a:off x="490073" y="254436"/>
            <a:ext cx="5347619" cy="5077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l">
              <a:defRPr sz="2000" spc="500">
                <a:solidFill>
                  <a:srgbClr val="53585F"/>
                </a:solidFill>
                <a:latin typeface="Montserrat-Regular"/>
                <a:ea typeface="Montserrat-Regular"/>
                <a:cs typeface="Montserrat-Regular"/>
                <a:sym typeface="Montserrat-Regular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50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Montserrat-Regular"/>
                <a:sym typeface="Montserrat-Regular"/>
              </a:rPr>
              <a:t>KBC COMMERCIAL BANKING</a:t>
            </a:r>
          </a:p>
        </p:txBody>
      </p:sp>
      <p:sp>
        <p:nvSpPr>
          <p:cNvPr id="3126" name="Shape 3126"/>
          <p:cNvSpPr/>
          <p:nvPr/>
        </p:nvSpPr>
        <p:spPr>
          <a:xfrm>
            <a:off x="2392012" y="4369190"/>
            <a:ext cx="3943068" cy="598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r">
              <a:lnSpc>
                <a:spcPct val="80000"/>
              </a:lnSpc>
              <a:defRPr sz="3600">
                <a:solidFill>
                  <a:srgbClr val="FFFFFF"/>
                </a:solidFill>
                <a:latin typeface="+mn-lt"/>
                <a:ea typeface="+mn-ea"/>
                <a:cs typeface="+mn-cs"/>
                <a:sym typeface="Montserrat-Bold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7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Montserrat-Bold"/>
              </a:rPr>
              <a:t>Relevant Information</a:t>
            </a:r>
            <a:endParaRPr kumimoji="0" sz="3600" b="0" i="0" u="none" strike="noStrike" kern="0" cap="none" spc="-7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Montserrat-Bold"/>
            </a:endParaRPr>
          </a:p>
        </p:txBody>
      </p:sp>
      <p:sp>
        <p:nvSpPr>
          <p:cNvPr id="3127" name="Shape 3127"/>
          <p:cNvSpPr/>
          <p:nvPr/>
        </p:nvSpPr>
        <p:spPr>
          <a:xfrm>
            <a:off x="2392984" y="3392090"/>
            <a:ext cx="7024103" cy="8485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r">
              <a:lnSpc>
                <a:spcPct val="80000"/>
              </a:lnSpc>
              <a:defRPr sz="5600" spc="-112">
                <a:solidFill>
                  <a:srgbClr val="FFFFFF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0" cap="none" spc="-11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/>
                <a:ea typeface="Source Sans Pro Light"/>
                <a:sym typeface="Source Sans Pro Light"/>
              </a:rPr>
              <a:t>KBC Bank </a:t>
            </a:r>
            <a:r>
              <a:rPr kumimoji="0" lang="en-US" altLang="zh-TW" sz="5600" b="0" i="0" u="none" strike="noStrike" kern="0" cap="none" spc="-11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/>
                <a:ea typeface="Source Sans Pro Light"/>
                <a:sym typeface="Source Sans Pro Light"/>
              </a:rPr>
              <a:t>NV </a:t>
            </a:r>
            <a:r>
              <a:rPr kumimoji="0" lang="en-US" sz="5600" b="0" i="0" u="none" strike="noStrike" kern="0" cap="none" spc="-11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/>
                <a:ea typeface="Source Sans Pro Light"/>
                <a:sym typeface="Source Sans Pro Light"/>
              </a:rPr>
              <a:t>Hong Kong</a:t>
            </a:r>
            <a:endParaRPr kumimoji="0" sz="5600" b="0" i="0" u="none" strike="noStrike" kern="0" cap="none" spc="-11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/>
              <a:ea typeface="Source Sans Pro Light"/>
              <a:sym typeface="Source Sans Pro Light"/>
            </a:endParaRPr>
          </a:p>
        </p:txBody>
      </p:sp>
      <p:sp>
        <p:nvSpPr>
          <p:cNvPr id="3129" name="Shape 3129"/>
          <p:cNvSpPr/>
          <p:nvPr/>
        </p:nvSpPr>
        <p:spPr>
          <a:xfrm>
            <a:off x="2392013" y="5481963"/>
            <a:ext cx="7164610" cy="2"/>
          </a:xfrm>
          <a:prstGeom prst="line">
            <a:avLst/>
          </a:prstGeom>
          <a:ln w="12700">
            <a:solidFill>
              <a:srgbClr val="FFFFFF">
                <a:alpha val="39961"/>
              </a:srgbClr>
            </a:solidFill>
            <a:miter lim="400000"/>
          </a:ln>
        </p:spPr>
        <p:txBody>
          <a:bodyPr lIns="71438" tIns="71438" rIns="71438" bIns="71438" anchor="ctr"/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47FD88-3AA5-4324-B570-7CF443AFDF46}"/>
              </a:ext>
            </a:extLst>
          </p:cNvPr>
          <p:cNvSpPr/>
          <p:nvPr/>
        </p:nvSpPr>
        <p:spPr>
          <a:xfrm>
            <a:off x="10868526" y="13380"/>
            <a:ext cx="2646948" cy="784447"/>
          </a:xfrm>
          <a:prstGeom prst="rect">
            <a:avLst/>
          </a:prstGeom>
          <a:solidFill>
            <a:srgbClr val="FFFFFF"/>
          </a:solidFill>
          <a:ln w="12700" cap="flat">
            <a:solidFill>
              <a:srgbClr val="FFFF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8" tIns="71438" rIns="71438" bIns="71438" numCol="1" spcCol="38100" rtlCol="0" anchor="ctr">
            <a:spAutoFit/>
          </a:bodyPr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-7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069F7B6-D278-4071-A1F2-5315CF145357}"/>
              </a:ext>
            </a:extLst>
          </p:cNvPr>
          <p:cNvGrpSpPr/>
          <p:nvPr/>
        </p:nvGrpSpPr>
        <p:grpSpPr>
          <a:xfrm>
            <a:off x="1525494" y="5664047"/>
            <a:ext cx="7588328" cy="2800191"/>
            <a:chOff x="1684925" y="7817871"/>
            <a:chExt cx="7588328" cy="2800190"/>
          </a:xfrm>
        </p:grpSpPr>
        <p:sp>
          <p:nvSpPr>
            <p:cNvPr id="3111" name="Shape 3111"/>
            <p:cNvSpPr/>
            <p:nvPr/>
          </p:nvSpPr>
          <p:spPr>
            <a:xfrm>
              <a:off x="3474341" y="7817871"/>
              <a:ext cx="5798912" cy="280019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71438" tIns="71438" rIns="71438" bIns="71438">
              <a:spAutoFit/>
            </a:bodyPr>
            <a:lstStyle/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KBC Bank NV Hong Kong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Suite 3901, 39/F, Central Plaza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18 </a:t>
              </a:r>
              <a:r>
                <a:rPr kumimoji="0" lang="en-US" sz="2700" b="0" i="0" u="none" strike="noStrike" kern="0" cap="none" spc="-82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Harbour</a:t>
              </a:r>
              <a:r>
                <a:rPr kumimoji="0" lang="en-US" sz="2700" b="0" i="0" u="none" strike="noStrike" kern="0" cap="none" spc="-8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 Road, </a:t>
              </a:r>
              <a:r>
                <a:rPr kumimoji="0" lang="en-US" sz="2700" b="0" i="0" u="none" strike="noStrike" kern="0" cap="none" spc="-82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Wanchai</a:t>
              </a:r>
              <a:r>
                <a:rPr kumimoji="0" lang="en-US" sz="2700" b="0" i="0" u="none" strike="noStrike" kern="0" cap="none" spc="-8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 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sz="2700" b="0" i="0" u="none" strike="noStrike" kern="0" cap="none" spc="-82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Hong Kong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endParaRPr kumimoji="0" sz="2700" b="0" i="0" u="none" strike="noStrike" kern="0" cap="none" spc="-8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endParaRPr>
            </a:p>
          </p:txBody>
        </p:sp>
        <p:pic>
          <p:nvPicPr>
            <p:cNvPr id="3" name="Graphic 2" descr="Marker with solid fill">
              <a:extLst>
                <a:ext uri="{FF2B5EF4-FFF2-40B4-BE49-F238E27FC236}">
                  <a16:creationId xmlns:a16="http://schemas.microsoft.com/office/drawing/2014/main" id="{00DD54BB-96E7-452F-8C67-FED60E2C9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84925" y="8502488"/>
              <a:ext cx="1028280" cy="1028280"/>
            </a:xfrm>
            <a:prstGeom prst="rect">
              <a:avLst/>
            </a:prstGeom>
          </p:spPr>
        </p:pic>
      </p:grpSp>
      <p:sp>
        <p:nvSpPr>
          <p:cNvPr id="31" name="Shape 3111">
            <a:extLst>
              <a:ext uri="{FF2B5EF4-FFF2-40B4-BE49-F238E27FC236}">
                <a16:creationId xmlns:a16="http://schemas.microsoft.com/office/drawing/2014/main" id="{0C8BC089-1C75-4269-B5A9-3830210EE715}"/>
              </a:ext>
            </a:extLst>
          </p:cNvPr>
          <p:cNvSpPr/>
          <p:nvPr/>
        </p:nvSpPr>
        <p:spPr>
          <a:xfrm>
            <a:off x="3329223" y="11316427"/>
            <a:ext cx="5798912" cy="6396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8" tIns="71438" rIns="71438" bIns="71438">
            <a:spAutoFit/>
          </a:bodyPr>
          <a:lstStyle/>
          <a:p>
            <a:pPr marL="0" marR="0" lvl="0" indent="0" algn="just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spc="-81">
                <a:solidFill>
                  <a:srgbClr val="FFFFFF"/>
                </a:solidFill>
              </a:defRPr>
            </a:pP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Website: </a:t>
            </a: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kbc.be/hongkong</a:t>
            </a: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  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52CD493-B238-44DF-BA28-B0DEEF323785}"/>
              </a:ext>
            </a:extLst>
          </p:cNvPr>
          <p:cNvGrpSpPr/>
          <p:nvPr/>
        </p:nvGrpSpPr>
        <p:grpSpPr>
          <a:xfrm>
            <a:off x="992647" y="8864621"/>
            <a:ext cx="2060461" cy="1240788"/>
            <a:chOff x="10360108" y="10774379"/>
            <a:chExt cx="3643328" cy="1990646"/>
          </a:xfrm>
        </p:grpSpPr>
        <p:pic>
          <p:nvPicPr>
            <p:cNvPr id="36" name="Picture 35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30A3FC1A-66E0-499A-9015-C2EAA5ED4F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653"/>
            <a:stretch/>
          </p:blipFill>
          <p:spPr>
            <a:xfrm>
              <a:off x="10609711" y="10774379"/>
              <a:ext cx="3164577" cy="1570022"/>
            </a:xfrm>
            <a:prstGeom prst="rect">
              <a:avLst/>
            </a:prstGeom>
          </p:spPr>
        </p:pic>
        <p:pic>
          <p:nvPicPr>
            <p:cNvPr id="37" name="Picture 36" descr="Logo&#10;&#10;Description automatically generated">
              <a:extLst>
                <a:ext uri="{FF2B5EF4-FFF2-40B4-BE49-F238E27FC236}">
                  <a16:creationId xmlns:a16="http://schemas.microsoft.com/office/drawing/2014/main" id="{6E6CFFDF-8765-40DF-9051-629B1F9BF8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903"/>
            <a:stretch/>
          </p:blipFill>
          <p:spPr>
            <a:xfrm>
              <a:off x="10360108" y="12143233"/>
              <a:ext cx="3643328" cy="621792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9B0C72E2-D17C-424D-A690-F0A2403FD519}"/>
              </a:ext>
            </a:extLst>
          </p:cNvPr>
          <p:cNvSpPr txBox="1"/>
          <p:nvPr/>
        </p:nvSpPr>
        <p:spPr>
          <a:xfrm>
            <a:off x="3314909" y="8396910"/>
            <a:ext cx="5798912" cy="2406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07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spc="-36" dirty="0">
                <a:solidFill>
                  <a:srgbClr val="00B0F0"/>
                </a:solidFill>
              </a:rPr>
              <a:t>Head of Commercial Banking &amp; </a:t>
            </a:r>
          </a:p>
          <a:p>
            <a:pPr marL="0" marR="0" lvl="0" indent="0" algn="l" defTabSz="4107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spc="-36" dirty="0">
                <a:solidFill>
                  <a:srgbClr val="00B0F0"/>
                </a:solidFill>
              </a:rPr>
              <a:t>Deputy General Manger</a:t>
            </a:r>
            <a:endParaRPr kumimoji="0" lang="en-US" b="1" i="0" u="none" strike="noStrike" kern="0" cap="none" spc="-36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700" b="1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W</a:t>
            </a:r>
            <a:r>
              <a:rPr lang="en-US" altLang="zh-TW" sz="2700" b="1" spc="-36" dirty="0" err="1">
                <a:solidFill>
                  <a:prstClr val="white"/>
                </a:solidFill>
              </a:rPr>
              <a:t>illiam</a:t>
            </a:r>
            <a:r>
              <a:rPr lang="zh-TW" altLang="en-US" sz="2700" b="1" spc="-36" dirty="0">
                <a:solidFill>
                  <a:prstClr val="white"/>
                </a:solidFill>
              </a:rPr>
              <a:t> </a:t>
            </a:r>
            <a:r>
              <a:rPr lang="en-US" altLang="zh-TW" sz="2700" b="1" spc="-36" dirty="0">
                <a:solidFill>
                  <a:prstClr val="white"/>
                </a:solidFill>
              </a:rPr>
              <a:t>Ip</a:t>
            </a:r>
            <a:endParaRPr kumimoji="0" lang="en-US" sz="2700" b="1" i="0" u="none" strike="noStrike" kern="0" cap="none" spc="-3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700" spc="-36" dirty="0">
                <a:solidFill>
                  <a:prstClr val="white"/>
                </a:solidFill>
              </a:rPr>
              <a:t>T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: +852 2879 3407</a:t>
            </a: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E-mail: 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illiam.ip@kbc.be</a:t>
            </a:r>
            <a:endParaRPr kumimoji="0" lang="en-US" sz="2700" b="0" i="0" u="none" strike="noStrike" kern="0" cap="none" spc="-82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1768DDB-3310-4FE1-8084-4D779FB81B7C}"/>
              </a:ext>
            </a:extLst>
          </p:cNvPr>
          <p:cNvSpPr txBox="1"/>
          <p:nvPr/>
        </p:nvSpPr>
        <p:spPr>
          <a:xfrm>
            <a:off x="9529273" y="8396910"/>
            <a:ext cx="5798912" cy="2406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1076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spc="-36" dirty="0">
                <a:solidFill>
                  <a:srgbClr val="00B0F0"/>
                </a:solidFill>
              </a:rPr>
              <a:t>Vice President, European Desk, Commercial Banking </a:t>
            </a: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700" b="1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Florence Chan</a:t>
            </a:r>
            <a:endParaRPr kumimoji="0" lang="en-US" sz="2700" b="1" i="0" u="none" strike="noStrike" kern="0" cap="none" spc="-3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700" spc="-36" dirty="0">
                <a:solidFill>
                  <a:prstClr val="white"/>
                </a:solidFill>
              </a:rPr>
              <a:t>T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: +852 2879 3380</a:t>
            </a: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E-mail: 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orence.chan@kbc.be</a:t>
            </a:r>
            <a:endParaRPr kumimoji="0" lang="en-US" sz="2700" b="0" i="0" u="none" strike="noStrike" kern="0" cap="none" spc="-36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</p:txBody>
      </p:sp>
      <p:pic>
        <p:nvPicPr>
          <p:cNvPr id="18" name="Picture 17" descr="A picture containing logo&#10;&#10;Description automatically generated">
            <a:extLst>
              <a:ext uri="{FF2B5EF4-FFF2-40B4-BE49-F238E27FC236}">
                <a16:creationId xmlns:a16="http://schemas.microsoft.com/office/drawing/2014/main" id="{0F28C189-E467-4189-A7BE-4882CD7152B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2" r="19144" b="26730"/>
          <a:stretch/>
        </p:blipFill>
        <p:spPr>
          <a:xfrm>
            <a:off x="23389389" y="136375"/>
            <a:ext cx="815532" cy="64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8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picture containing building, colorful, plant&#10;&#10;Description automatically generated">
            <a:extLst>
              <a:ext uri="{FF2B5EF4-FFF2-40B4-BE49-F238E27FC236}">
                <a16:creationId xmlns:a16="http://schemas.microsoft.com/office/drawing/2014/main" id="{3082FC3C-F95C-4528-B36A-1F815D89845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61674" y="1031288"/>
            <a:ext cx="8522328" cy="12684712"/>
          </a:xfrm>
          <a:prstGeom prst="rect">
            <a:avLst/>
          </a:prstGeom>
        </p:spPr>
      </p:pic>
      <p:sp>
        <p:nvSpPr>
          <p:cNvPr id="3106" name="Shape 3106"/>
          <p:cNvSpPr/>
          <p:nvPr/>
        </p:nvSpPr>
        <p:spPr>
          <a:xfrm>
            <a:off x="1" y="1031289"/>
            <a:ext cx="16388682" cy="1268471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0962" y="21600"/>
                </a:lnTo>
                <a:lnTo>
                  <a:pt x="20962" y="11675"/>
                </a:lnTo>
                <a:lnTo>
                  <a:pt x="21600" y="10335"/>
                </a:lnTo>
                <a:lnTo>
                  <a:pt x="20962" y="10335"/>
                </a:lnTo>
                <a:lnTo>
                  <a:pt x="20962" y="10327"/>
                </a:lnTo>
                <a:lnTo>
                  <a:pt x="21600" y="10327"/>
                </a:lnTo>
                <a:lnTo>
                  <a:pt x="20962" y="8987"/>
                </a:lnTo>
                <a:lnTo>
                  <a:pt x="20962" y="0"/>
                </a:lnTo>
                <a:lnTo>
                  <a:pt x="0" y="0"/>
                </a:lnTo>
                <a:close/>
              </a:path>
            </a:pathLst>
          </a:custGeom>
          <a:solidFill>
            <a:srgbClr val="003665"/>
          </a:solidFill>
          <a:ln w="12700">
            <a:miter lim="400000"/>
          </a:ln>
        </p:spPr>
        <p:txBody>
          <a:bodyPr lIns="71438" tIns="71438" rIns="71438" bIns="71438" anchor="ctr"/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3115" name="Shape 3115"/>
          <p:cNvSpPr/>
          <p:nvPr/>
        </p:nvSpPr>
        <p:spPr>
          <a:xfrm>
            <a:off x="490073" y="254436"/>
            <a:ext cx="5347619" cy="50770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l">
              <a:defRPr sz="2000" spc="500">
                <a:solidFill>
                  <a:srgbClr val="53585F"/>
                </a:solidFill>
                <a:latin typeface="Montserrat-Regular"/>
                <a:ea typeface="Montserrat-Regular"/>
                <a:cs typeface="Montserrat-Regular"/>
                <a:sym typeface="Montserrat-Regular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500" normalizeH="0" baseline="0" noProof="0">
                <a:ln>
                  <a:noFill/>
                </a:ln>
                <a:solidFill>
                  <a:srgbClr val="003665"/>
                </a:solidFill>
                <a:effectLst/>
                <a:uLnTx/>
                <a:uFillTx/>
                <a:latin typeface="Montserrat-Regular"/>
                <a:sym typeface="Montserrat-Regular"/>
              </a:rPr>
              <a:t>KBC COMMERCIAL BANKING</a:t>
            </a:r>
          </a:p>
        </p:txBody>
      </p:sp>
      <p:sp>
        <p:nvSpPr>
          <p:cNvPr id="3126" name="Shape 3126"/>
          <p:cNvSpPr/>
          <p:nvPr/>
        </p:nvSpPr>
        <p:spPr>
          <a:xfrm>
            <a:off x="2392012" y="4369190"/>
            <a:ext cx="3943068" cy="598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r">
              <a:lnSpc>
                <a:spcPct val="80000"/>
              </a:lnSpc>
              <a:defRPr sz="3600">
                <a:solidFill>
                  <a:srgbClr val="FFFFFF"/>
                </a:solidFill>
                <a:latin typeface="+mn-lt"/>
                <a:ea typeface="+mn-ea"/>
                <a:cs typeface="+mn-cs"/>
                <a:sym typeface="Montserrat-Bold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-7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Montserrat-Bold"/>
              </a:rPr>
              <a:t>Relevant Information</a:t>
            </a:r>
            <a:endParaRPr kumimoji="0" sz="3600" b="0" i="0" u="none" strike="noStrike" kern="0" cap="none" spc="-7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Montserrat-Bold"/>
            </a:endParaRPr>
          </a:p>
        </p:txBody>
      </p:sp>
      <p:sp>
        <p:nvSpPr>
          <p:cNvPr id="3127" name="Shape 3127"/>
          <p:cNvSpPr/>
          <p:nvPr/>
        </p:nvSpPr>
        <p:spPr>
          <a:xfrm>
            <a:off x="2392984" y="3392090"/>
            <a:ext cx="6761211" cy="84850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71438" tIns="71438" rIns="71438" bIns="71438" anchor="ctr">
            <a:spAutoFit/>
          </a:bodyPr>
          <a:lstStyle>
            <a:lvl1pPr algn="r">
              <a:lnSpc>
                <a:spcPct val="80000"/>
              </a:lnSpc>
              <a:defRPr sz="5600" spc="-112">
                <a:solidFill>
                  <a:srgbClr val="FFFFFF"/>
                </a:solidFill>
                <a:latin typeface="Source Sans Pro Light"/>
                <a:ea typeface="Source Sans Pro Light"/>
                <a:cs typeface="Source Sans Pro Light"/>
                <a:sym typeface="Source Sans Pro Light"/>
              </a:defRPr>
            </a:lvl1pPr>
          </a:lstStyle>
          <a:p>
            <a:pPr marL="0" marR="0" lvl="0" indent="0" algn="l" defTabSz="821532" rtl="0" eaLnBrk="1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00" b="0" i="0" u="none" strike="noStrike" kern="0" cap="none" spc="-11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/>
                <a:ea typeface="Source Sans Pro Light"/>
                <a:sym typeface="Source Sans Pro Light"/>
              </a:rPr>
              <a:t>KBC Bank </a:t>
            </a:r>
            <a:r>
              <a:rPr lang="en-US" altLang="zh-TW"/>
              <a:t>NV </a:t>
            </a:r>
            <a:r>
              <a:rPr kumimoji="0" lang="en-US" sz="5600" b="0" i="0" u="none" strike="noStrike" kern="0" cap="none" spc="-112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 Light"/>
                <a:ea typeface="Source Sans Pro Light"/>
                <a:sym typeface="Source Sans Pro Light"/>
              </a:rPr>
              <a:t>Singapore</a:t>
            </a:r>
            <a:endParaRPr kumimoji="0" sz="5600" b="0" i="0" u="none" strike="noStrike" kern="0" cap="none" spc="-11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 Light"/>
              <a:ea typeface="Source Sans Pro Light"/>
              <a:sym typeface="Source Sans Pro Light"/>
            </a:endParaRPr>
          </a:p>
        </p:txBody>
      </p:sp>
      <p:sp>
        <p:nvSpPr>
          <p:cNvPr id="3129" name="Shape 3129"/>
          <p:cNvSpPr/>
          <p:nvPr/>
        </p:nvSpPr>
        <p:spPr>
          <a:xfrm>
            <a:off x="2392013" y="5481963"/>
            <a:ext cx="7164610" cy="2"/>
          </a:xfrm>
          <a:prstGeom prst="line">
            <a:avLst/>
          </a:prstGeom>
          <a:ln w="12700">
            <a:solidFill>
              <a:srgbClr val="FFFFFF">
                <a:alpha val="39961"/>
              </a:srgbClr>
            </a:solidFill>
            <a:miter lim="400000"/>
          </a:ln>
        </p:spPr>
        <p:txBody>
          <a:bodyPr lIns="71438" tIns="71438" rIns="71438" bIns="71438" anchor="ctr"/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spc="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447FD88-3AA5-4324-B570-7CF443AFDF46}"/>
              </a:ext>
            </a:extLst>
          </p:cNvPr>
          <p:cNvSpPr/>
          <p:nvPr/>
        </p:nvSpPr>
        <p:spPr>
          <a:xfrm>
            <a:off x="10868526" y="13380"/>
            <a:ext cx="2646948" cy="784447"/>
          </a:xfrm>
          <a:prstGeom prst="rect">
            <a:avLst/>
          </a:prstGeom>
          <a:solidFill>
            <a:srgbClr val="FFFFFF"/>
          </a:solidFill>
          <a:ln w="12700" cap="flat">
            <a:solidFill>
              <a:srgbClr val="FFFFFF"/>
            </a:solidFill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1438" tIns="71438" rIns="71438" bIns="71438" numCol="1" spcCol="38100" rtlCol="0" anchor="ctr">
            <a:spAutoFit/>
          </a:bodyPr>
          <a:lstStyle/>
          <a:p>
            <a:pPr marL="0" marR="0" lvl="0" indent="0" algn="ctr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0" cap="none" spc="-72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069F7B6-D278-4071-A1F2-5315CF145357}"/>
              </a:ext>
            </a:extLst>
          </p:cNvPr>
          <p:cNvGrpSpPr/>
          <p:nvPr/>
        </p:nvGrpSpPr>
        <p:grpSpPr>
          <a:xfrm>
            <a:off x="1525494" y="5664047"/>
            <a:ext cx="7588328" cy="2898615"/>
            <a:chOff x="1684925" y="7817871"/>
            <a:chExt cx="7588328" cy="2898614"/>
          </a:xfrm>
        </p:grpSpPr>
        <p:sp>
          <p:nvSpPr>
            <p:cNvPr id="3111" name="Shape 3111"/>
            <p:cNvSpPr/>
            <p:nvPr/>
          </p:nvSpPr>
          <p:spPr>
            <a:xfrm>
              <a:off x="3474341" y="7817871"/>
              <a:ext cx="5798912" cy="289861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71438" tIns="71438" rIns="71438" bIns="71438">
              <a:spAutoFit/>
            </a:bodyPr>
            <a:lstStyle/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KBC Bank NV Singapore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9 Raffles Place 14-20/21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Republic Plaza 2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r>
                <a:rPr kumimoji="0" lang="en-US" b="0" i="0" u="none" strike="noStrike" kern="0" cap="none" spc="-82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/>
                  <a:ea typeface="Source Sans Pro"/>
                  <a:sym typeface="Source Sans Pro"/>
                </a:rPr>
                <a:t>Singapore 048619</a:t>
              </a:r>
            </a:p>
            <a:p>
              <a:pPr marL="0" marR="0" lvl="0" indent="0" algn="just" defTabSz="821532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700" spc="-81">
                  <a:solidFill>
                    <a:srgbClr val="FFFFFF"/>
                  </a:solidFill>
                </a:defRPr>
              </a:pPr>
              <a:endParaRPr kumimoji="0" b="0" i="0" u="none" strike="noStrike" kern="0" cap="none" spc="-8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endParaRPr>
            </a:p>
          </p:txBody>
        </p:sp>
        <p:pic>
          <p:nvPicPr>
            <p:cNvPr id="3" name="Graphic 2" descr="Marker with solid fill">
              <a:extLst>
                <a:ext uri="{FF2B5EF4-FFF2-40B4-BE49-F238E27FC236}">
                  <a16:creationId xmlns:a16="http://schemas.microsoft.com/office/drawing/2014/main" id="{00DD54BB-96E7-452F-8C67-FED60E2C9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684925" y="8502488"/>
              <a:ext cx="1028280" cy="1028280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E57A77B6-E4F1-423F-9AB4-21AA96C2A565}"/>
              </a:ext>
            </a:extLst>
          </p:cNvPr>
          <p:cNvSpPr txBox="1"/>
          <p:nvPr/>
        </p:nvSpPr>
        <p:spPr>
          <a:xfrm>
            <a:off x="3314908" y="8305654"/>
            <a:ext cx="6392669" cy="3288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spc="-36" dirty="0">
                <a:solidFill>
                  <a:srgbClr val="00B0F0"/>
                </a:solidFill>
              </a:rPr>
              <a:t>Head of Commercial Banking</a:t>
            </a:r>
            <a:endParaRPr kumimoji="0" lang="en-US" b="1" i="0" u="none" strike="noStrike" kern="0" cap="none" spc="-36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2700" b="1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Quak Yeok Koon</a:t>
            </a:r>
            <a:endParaRPr kumimoji="0" lang="en-US" sz="2700" b="1" i="0" u="none" strike="noStrike" kern="0" cap="none" spc="-36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T: +65 6395 2833</a:t>
            </a:r>
          </a:p>
          <a:p>
            <a:pPr marL="0" marR="0" lvl="0" indent="0" algn="just" defTabSz="410766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E-mail: 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sym typeface="Source Sans Pr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</a:t>
            </a:r>
            <a:r>
              <a:rPr lang="en-US" sz="2700" spc="-36" dirty="0" err="1">
                <a:solidFill>
                  <a:srgbClr val="00B0F0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okkoon.quak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sym typeface="Source Sans Pr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kbc.be</a:t>
            </a:r>
            <a:r>
              <a:rPr kumimoji="0" lang="en-US" sz="2700" b="0" i="0" u="none" strike="noStrike" kern="0" cap="none" spc="-36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 </a:t>
            </a:r>
          </a:p>
          <a:p>
            <a:pPr marL="0" marR="0" lvl="0" indent="0" algn="just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spc="-81">
                <a:solidFill>
                  <a:srgbClr val="FFFFFF"/>
                </a:solidFill>
              </a:defRPr>
            </a:pPr>
            <a:endParaRPr kumimoji="0" lang="en-US" sz="2700" b="0" i="0" u="none" strike="noStrike" kern="0" cap="none" spc="-82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/>
              <a:ea typeface="Source Sans Pro"/>
              <a:sym typeface="Source Sans Pro"/>
            </a:endParaRPr>
          </a:p>
          <a:p>
            <a:pPr marL="0" marR="0" lvl="0" indent="0" algn="just" defTabSz="821532" rtl="0" eaLnBrk="1" fontAlgn="auto" latinLnBrk="0" hangingPunct="0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700" spc="-81">
                <a:solidFill>
                  <a:srgbClr val="FFFFFF"/>
                </a:solidFill>
              </a:defRPr>
            </a:pP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Website: </a:t>
            </a: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kbc.be/singapore</a:t>
            </a:r>
            <a:r>
              <a:rPr kumimoji="0" lang="en-US" sz="2700" b="0" i="0" u="none" strike="noStrike" kern="0" cap="none" spc="-82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Source Sans Pro"/>
                <a:ea typeface="Source Sans Pro"/>
                <a:sym typeface="Source Sans Pro"/>
              </a:rPr>
              <a:t>  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DEFA7A3-93A9-4278-8E6A-DBBA4114A8A8}"/>
              </a:ext>
            </a:extLst>
          </p:cNvPr>
          <p:cNvGrpSpPr/>
          <p:nvPr/>
        </p:nvGrpSpPr>
        <p:grpSpPr>
          <a:xfrm>
            <a:off x="992647" y="8864621"/>
            <a:ext cx="2060461" cy="1240788"/>
            <a:chOff x="10360108" y="10774379"/>
            <a:chExt cx="3643328" cy="1990646"/>
          </a:xfrm>
        </p:grpSpPr>
        <p:pic>
          <p:nvPicPr>
            <p:cNvPr id="36" name="Picture 35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69D35EF1-8CF4-4F67-8E2A-3D70BEF2FE9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653"/>
            <a:stretch/>
          </p:blipFill>
          <p:spPr>
            <a:xfrm>
              <a:off x="10609711" y="10774379"/>
              <a:ext cx="3164577" cy="1570022"/>
            </a:xfrm>
            <a:prstGeom prst="rect">
              <a:avLst/>
            </a:prstGeom>
          </p:spPr>
        </p:pic>
        <p:pic>
          <p:nvPicPr>
            <p:cNvPr id="37" name="Picture 36" descr="Logo&#10;&#10;Description automatically generated">
              <a:extLst>
                <a:ext uri="{FF2B5EF4-FFF2-40B4-BE49-F238E27FC236}">
                  <a16:creationId xmlns:a16="http://schemas.microsoft.com/office/drawing/2014/main" id="{6752ABC6-C7FE-42D4-ACC5-0390406B86A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1903"/>
            <a:stretch/>
          </p:blipFill>
          <p:spPr>
            <a:xfrm>
              <a:off x="10360108" y="12143233"/>
              <a:ext cx="3643328" cy="621792"/>
            </a:xfrm>
            <a:prstGeom prst="rect">
              <a:avLst/>
            </a:prstGeom>
          </p:spPr>
        </p:pic>
      </p:grpSp>
      <p:pic>
        <p:nvPicPr>
          <p:cNvPr id="16" name="Picture 15" descr="A picture containing logo&#10;&#10;Description automatically generated">
            <a:extLst>
              <a:ext uri="{FF2B5EF4-FFF2-40B4-BE49-F238E27FC236}">
                <a16:creationId xmlns:a16="http://schemas.microsoft.com/office/drawing/2014/main" id="{34C7CFC6-1E0F-457E-A96C-40BEBA8455A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482" r="19144" b="26730"/>
          <a:stretch/>
        </p:blipFill>
        <p:spPr>
          <a:xfrm>
            <a:off x="23389389" y="136375"/>
            <a:ext cx="815532" cy="64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140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Montserrat-Bold"/>
        <a:ea typeface="Montserrat-Bold"/>
        <a:cs typeface="Montserrat-Bold"/>
      </a:majorFont>
      <a:minorFont>
        <a:latin typeface="Montserrat-Bold"/>
        <a:ea typeface="Montserrat-Bold"/>
        <a:cs typeface="Montserrat-Bold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666EA0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ctr" defTabSz="821531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7" tIns="71437" rIns="71437" bIns="71437" numCol="1" spcCol="38100" rtlCol="0" anchor="ctr">
        <a:spAutoFit/>
      </a:bodyPr>
      <a:lstStyle>
        <a:defPPr marL="0" marR="0" indent="0" algn="just" defTabSz="821531" rtl="0" fontAlgn="auto" latinLnBrk="0" hangingPunct="0">
          <a:lnSpc>
            <a:spcPct val="13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-72" normalizeH="0" baseline="0">
            <a:ln>
              <a:noFill/>
            </a:ln>
            <a:solidFill>
              <a:srgbClr val="828994"/>
            </a:solidFill>
            <a:effectLst/>
            <a:uFillTx/>
            <a:latin typeface="Source Sans Pro"/>
            <a:ea typeface="Source Sans Pro"/>
            <a:cs typeface="Source Sans Pro"/>
            <a:sym typeface="Source Sans Pro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8</Words>
  <Application>Microsoft Office PowerPoint</Application>
  <PresentationFormat>Aangepast</PresentationFormat>
  <Paragraphs>108</Paragraphs>
  <Slides>7</Slides>
  <Notes>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6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25" baseType="lpstr">
      <vt:lpstr>Arial</vt:lpstr>
      <vt:lpstr>Calibri</vt:lpstr>
      <vt:lpstr>Calibri Light</vt:lpstr>
      <vt:lpstr>Courier New</vt:lpstr>
      <vt:lpstr>Gilroy</vt:lpstr>
      <vt:lpstr>Gilroy Bold</vt:lpstr>
      <vt:lpstr>Helvetica Light</vt:lpstr>
      <vt:lpstr>Helvetica Neue</vt:lpstr>
      <vt:lpstr>ITC Lubalin Graph Std Book</vt:lpstr>
      <vt:lpstr>Montserrat-Regular</vt:lpstr>
      <vt:lpstr>Source Sans Pro</vt:lpstr>
      <vt:lpstr>Source Sans Pro Light</vt:lpstr>
      <vt:lpstr>Source Sans Pro Semibold</vt:lpstr>
      <vt:lpstr>Trebuchet MS</vt:lpstr>
      <vt:lpstr>Verdana</vt:lpstr>
      <vt:lpstr>Wingdings</vt:lpstr>
      <vt:lpstr>Office Theme</vt:lpstr>
      <vt:lpstr>think-cell Slide</vt:lpstr>
      <vt:lpstr>Introduction to KBC Asia Pacific We go the extra mile for our clients</vt:lpstr>
      <vt:lpstr>We are present in the 3 major financial centres in APAC providing wholesale banking services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HANZ</dc:creator>
  <cp:lastModifiedBy>Lien Vanreusel</cp:lastModifiedBy>
  <cp:revision>5</cp:revision>
  <cp:lastPrinted>2023-03-27T09:04:08Z</cp:lastPrinted>
  <dcterms:modified xsi:type="dcterms:W3CDTF">2023-04-03T09:3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1598e80-c4b0-45ea-92db-0f710f24d13e_Enabled">
    <vt:lpwstr>true</vt:lpwstr>
  </property>
  <property fmtid="{D5CDD505-2E9C-101B-9397-08002B2CF9AE}" pid="3" name="MSIP_Label_31598e80-c4b0-45ea-92db-0f710f24d13e_SetDate">
    <vt:lpwstr>2023-03-30T02:33:03Z</vt:lpwstr>
  </property>
  <property fmtid="{D5CDD505-2E9C-101B-9397-08002B2CF9AE}" pid="4" name="MSIP_Label_31598e80-c4b0-45ea-92db-0f710f24d13e_Method">
    <vt:lpwstr>Privileged</vt:lpwstr>
  </property>
  <property fmtid="{D5CDD505-2E9C-101B-9397-08002B2CF9AE}" pid="5" name="MSIP_Label_31598e80-c4b0-45ea-92db-0f710f24d13e_Name">
    <vt:lpwstr>31598e80-c4b0-45ea-92db-0f710f24d13e</vt:lpwstr>
  </property>
  <property fmtid="{D5CDD505-2E9C-101B-9397-08002B2CF9AE}" pid="6" name="MSIP_Label_31598e80-c4b0-45ea-92db-0f710f24d13e_SiteId">
    <vt:lpwstr>64af2aee-7d6c-49ac-a409-192d3fee73b8</vt:lpwstr>
  </property>
  <property fmtid="{D5CDD505-2E9C-101B-9397-08002B2CF9AE}" pid="7" name="MSIP_Label_31598e80-c4b0-45ea-92db-0f710f24d13e_ActionId">
    <vt:lpwstr>e3ed8ec7-316e-48d9-ae23-345ee481866f</vt:lpwstr>
  </property>
  <property fmtid="{D5CDD505-2E9C-101B-9397-08002B2CF9AE}" pid="8" name="MSIP_Label_31598e80-c4b0-45ea-92db-0f710f24d13e_ContentBits">
    <vt:lpwstr>1</vt:lpwstr>
  </property>
</Properties>
</file>